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5" r:id="rId4"/>
    <p:sldMasterId id="2147483676" r:id="rId5"/>
    <p:sldMasterId id="2147483684" r:id="rId6"/>
  </p:sldMasterIdLst>
  <p:notesMasterIdLst>
    <p:notesMasterId r:id="rId21"/>
  </p:notesMasterIdLst>
  <p:handoutMasterIdLst>
    <p:handoutMasterId r:id="rId22"/>
  </p:handoutMasterIdLst>
  <p:sldIdLst>
    <p:sldId id="512" r:id="rId7"/>
    <p:sldId id="524" r:id="rId8"/>
    <p:sldId id="525" r:id="rId9"/>
    <p:sldId id="526" r:id="rId10"/>
    <p:sldId id="527" r:id="rId11"/>
    <p:sldId id="528" r:id="rId12"/>
    <p:sldId id="534" r:id="rId13"/>
    <p:sldId id="529" r:id="rId14"/>
    <p:sldId id="530" r:id="rId15"/>
    <p:sldId id="535" r:id="rId16"/>
    <p:sldId id="531" r:id="rId17"/>
    <p:sldId id="532" r:id="rId18"/>
    <p:sldId id="533" r:id="rId19"/>
    <p:sldId id="523" r:id="rId20"/>
  </p:sldIdLst>
  <p:sldSz cx="12192000" cy="6858000"/>
  <p:notesSz cx="9601200" cy="13246100"/>
  <p:custDataLst>
    <p:tags r:id="rId23"/>
  </p:custDataLst>
  <p:defaultTextStyle>
    <a:defPPr>
      <a:defRPr lang="en-US"/>
    </a:defPPr>
    <a:lvl1pPr algn="l" defTabSz="509588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08" charset="-128"/>
        <a:cs typeface="+mn-cs"/>
      </a:defRPr>
    </a:lvl1pPr>
    <a:lvl2pPr marL="509588" indent="-188913" algn="l" defTabSz="509588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08" charset="-128"/>
        <a:cs typeface="+mn-cs"/>
      </a:defRPr>
    </a:lvl2pPr>
    <a:lvl3pPr marL="1020763" indent="-381000" algn="l" defTabSz="509588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08" charset="-128"/>
        <a:cs typeface="+mn-cs"/>
      </a:defRPr>
    </a:lvl3pPr>
    <a:lvl4pPr marL="1533525" indent="-573088" algn="l" defTabSz="509588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08" charset="-128"/>
        <a:cs typeface="+mn-cs"/>
      </a:defRPr>
    </a:lvl4pPr>
    <a:lvl5pPr marL="2046288" indent="-765175" algn="l" defTabSz="509588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08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08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08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08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08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00" userDrawn="1">
          <p15:clr>
            <a:srgbClr val="A4A3A4"/>
          </p15:clr>
        </p15:guide>
        <p15:guide id="2" orient="horz" pos="432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  <p15:guide id="4" orient="horz" pos="288" userDrawn="1">
          <p15:clr>
            <a:srgbClr val="A4A3A4"/>
          </p15:clr>
        </p15:guide>
        <p15:guide id="5" orient="horz" pos="3888" userDrawn="1">
          <p15:clr>
            <a:srgbClr val="A4A3A4"/>
          </p15:clr>
        </p15:guide>
        <p15:guide id="6" orient="horz" pos="1008" userDrawn="1">
          <p15:clr>
            <a:srgbClr val="A4A3A4"/>
          </p15:clr>
        </p15:guide>
        <p15:guide id="7" orient="horz" pos="1296" userDrawn="1">
          <p15:clr>
            <a:srgbClr val="A4A3A4"/>
          </p15:clr>
        </p15:guide>
        <p15:guide id="8" orient="horz" pos="3456" userDrawn="1">
          <p15:clr>
            <a:srgbClr val="A4A3A4"/>
          </p15:clr>
        </p15:guide>
        <p15:guide id="9" pos="9408" userDrawn="1">
          <p15:clr>
            <a:srgbClr val="A4A3A4"/>
          </p15:clr>
        </p15:guide>
        <p15:guide id="10" pos="3840" userDrawn="1">
          <p15:clr>
            <a:srgbClr val="A4A3A4"/>
          </p15:clr>
        </p15:guide>
        <p15:guide id="11" pos="-1728" userDrawn="1">
          <p15:clr>
            <a:srgbClr val="A4A3A4"/>
          </p15:clr>
        </p15:guide>
        <p15:guide id="12" pos="7296" userDrawn="1">
          <p15:clr>
            <a:srgbClr val="A4A3A4"/>
          </p15:clr>
        </p15:guide>
        <p15:guide id="13" pos="3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oster, William [JJCUS]" initials="FW[" lastIdx="2" clrIdx="0">
    <p:extLst>
      <p:ext uri="{19B8F6BF-5375-455C-9EA6-DF929625EA0E}">
        <p15:presenceInfo xmlns:p15="http://schemas.microsoft.com/office/powerpoint/2012/main" userId="S-1-5-21-1614895754-2146847981-1606980848-13967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8CAA"/>
    <a:srgbClr val="555555"/>
    <a:srgbClr val="000000"/>
    <a:srgbClr val="BECD87"/>
    <a:srgbClr val="9B7D8C"/>
    <a:srgbClr val="12C2E9"/>
    <a:srgbClr val="CCCF32"/>
    <a:srgbClr val="B4B4B4"/>
    <a:srgbClr val="828282"/>
    <a:srgbClr val="AEC2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01" autoAdjust="0"/>
    <p:restoredTop sz="94431" autoAdjust="0"/>
  </p:normalViewPr>
  <p:slideViewPr>
    <p:cSldViewPr snapToObjects="1">
      <p:cViewPr>
        <p:scale>
          <a:sx n="60" d="100"/>
          <a:sy n="60" d="100"/>
        </p:scale>
        <p:origin x="978" y="198"/>
      </p:cViewPr>
      <p:guideLst>
        <p:guide orient="horz" pos="3600"/>
        <p:guide orient="horz" pos="4320"/>
        <p:guide orient="horz" pos="2160"/>
        <p:guide orient="horz" pos="288"/>
        <p:guide orient="horz" pos="3888"/>
        <p:guide orient="horz" pos="1008"/>
        <p:guide orient="horz" pos="1296"/>
        <p:guide orient="horz" pos="3456"/>
        <p:guide pos="9408"/>
        <p:guide pos="3840"/>
        <p:guide pos="-1728"/>
        <p:guide pos="7296"/>
        <p:guide pos="3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>
        <p:scale>
          <a:sx n="136" d="100"/>
          <a:sy n="136" d="100"/>
        </p:scale>
        <p:origin x="2718" y="-102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D6C8A60-4698-436B-814E-E9698CBA5FB6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7141580-C21B-4EE0-BB03-583908C87909}">
      <dgm:prSet phldrT="[Text]" custT="1"/>
      <dgm:spPr/>
      <dgm:t>
        <a:bodyPr/>
        <a:lstStyle/>
        <a:p>
          <a:r>
            <a:rPr lang="en-US" sz="2400" dirty="0"/>
            <a:t>Anvisa Regulatory Act (RDC 59/2009)</a:t>
          </a:r>
        </a:p>
      </dgm:t>
    </dgm:pt>
    <dgm:pt modelId="{B7B77DEC-3592-4F96-B210-106B8669C5E0}" type="parTrans" cxnId="{966D00F1-D0A6-4CDC-A75F-4D8234233859}">
      <dgm:prSet/>
      <dgm:spPr/>
      <dgm:t>
        <a:bodyPr/>
        <a:lstStyle/>
        <a:p>
          <a:endParaRPr lang="en-US" sz="1400"/>
        </a:p>
      </dgm:t>
    </dgm:pt>
    <dgm:pt modelId="{BEE3E9C9-6281-4BED-A808-E6E38CE0A477}" type="sibTrans" cxnId="{966D00F1-D0A6-4CDC-A75F-4D8234233859}">
      <dgm:prSet/>
      <dgm:spPr/>
      <dgm:t>
        <a:bodyPr/>
        <a:lstStyle/>
        <a:p>
          <a:endParaRPr lang="en-US" sz="1400"/>
        </a:p>
      </dgm:t>
    </dgm:pt>
    <dgm:pt modelId="{C54549AA-EFD9-4507-AFAF-5B483B305A99}">
      <dgm:prSet phldrT="[Text]" custT="1"/>
      <dgm:spPr/>
      <dgm:t>
        <a:bodyPr/>
        <a:lstStyle/>
        <a:p>
          <a:r>
            <a:rPr lang="en-US" sz="2400" dirty="0"/>
            <a:t>Anvisa Regulatory Act (RDC 54/2013)</a:t>
          </a:r>
        </a:p>
      </dgm:t>
    </dgm:pt>
    <dgm:pt modelId="{B4FD981B-7F58-4998-BBA9-CA510BDC95B6}" type="parTrans" cxnId="{982EBFAA-B784-455F-8B4F-5677139DFC91}">
      <dgm:prSet/>
      <dgm:spPr/>
      <dgm:t>
        <a:bodyPr/>
        <a:lstStyle/>
        <a:p>
          <a:endParaRPr lang="en-US" sz="1400"/>
        </a:p>
      </dgm:t>
    </dgm:pt>
    <dgm:pt modelId="{576849FC-972E-45B9-B7CF-FF2BEAF6A099}" type="sibTrans" cxnId="{982EBFAA-B784-455F-8B4F-5677139DFC91}">
      <dgm:prSet/>
      <dgm:spPr/>
      <dgm:t>
        <a:bodyPr/>
        <a:lstStyle/>
        <a:p>
          <a:endParaRPr lang="en-US" sz="1400"/>
        </a:p>
      </dgm:t>
    </dgm:pt>
    <dgm:pt modelId="{FE62389A-5734-4DA1-BDB3-3617BEF96632}">
      <dgm:prSet phldrT="[Text]" custT="1"/>
      <dgm:spPr/>
      <dgm:t>
        <a:bodyPr/>
        <a:lstStyle/>
        <a:p>
          <a:r>
            <a:rPr lang="en-US" sz="2400" dirty="0"/>
            <a:t>Anvisa Regulatory Act (RDC 157/2017)</a:t>
          </a:r>
        </a:p>
      </dgm:t>
    </dgm:pt>
    <dgm:pt modelId="{93254042-21FE-430A-90C5-D1BD2E3A84C2}" type="parTrans" cxnId="{7E27C4AB-A0FC-4BAE-9816-AD1F2FA58C89}">
      <dgm:prSet/>
      <dgm:spPr/>
      <dgm:t>
        <a:bodyPr/>
        <a:lstStyle/>
        <a:p>
          <a:endParaRPr lang="en-US" sz="1400"/>
        </a:p>
      </dgm:t>
    </dgm:pt>
    <dgm:pt modelId="{0E7649C3-C7DA-4053-B242-92C68723E1A2}" type="sibTrans" cxnId="{7E27C4AB-A0FC-4BAE-9816-AD1F2FA58C89}">
      <dgm:prSet/>
      <dgm:spPr/>
      <dgm:t>
        <a:bodyPr/>
        <a:lstStyle/>
        <a:p>
          <a:endParaRPr lang="en-US" sz="1400"/>
        </a:p>
      </dgm:t>
    </dgm:pt>
    <dgm:pt modelId="{94324ECA-93BF-45F4-82C0-2312A9E11D05}">
      <dgm:prSet phldrT="[Text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endParaRPr lang="en-US" sz="2400" dirty="0"/>
        </a:p>
      </dgm:t>
    </dgm:pt>
    <dgm:pt modelId="{E5EB3DEF-207E-4F62-989B-941289B112FA}" type="parTrans" cxnId="{77ACE47E-2E59-441B-B0C1-AF9D4BB3BCCC}">
      <dgm:prSet/>
      <dgm:spPr/>
      <dgm:t>
        <a:bodyPr/>
        <a:lstStyle/>
        <a:p>
          <a:endParaRPr lang="en-US" sz="1400"/>
        </a:p>
      </dgm:t>
    </dgm:pt>
    <dgm:pt modelId="{78D406D4-80E6-4323-801C-B0F10DFF195F}" type="sibTrans" cxnId="{77ACE47E-2E59-441B-B0C1-AF9D4BB3BCCC}">
      <dgm:prSet/>
      <dgm:spPr/>
      <dgm:t>
        <a:bodyPr/>
        <a:lstStyle/>
        <a:p>
          <a:endParaRPr lang="en-US" sz="1400"/>
        </a:p>
      </dgm:t>
    </dgm:pt>
    <dgm:pt modelId="{DAE5928A-A20B-4510-891B-0F106C7523C9}" type="pres">
      <dgm:prSet presAssocID="{BD6C8A60-4698-436B-814E-E9698CBA5FB6}" presName="Name0" presStyleCnt="0">
        <dgm:presLayoutVars>
          <dgm:chMax val="7"/>
          <dgm:chPref val="7"/>
          <dgm:dir/>
        </dgm:presLayoutVars>
      </dgm:prSet>
      <dgm:spPr/>
    </dgm:pt>
    <dgm:pt modelId="{61ED60CB-13CB-42EA-B3C3-203D174AA53E}" type="pres">
      <dgm:prSet presAssocID="{BD6C8A60-4698-436B-814E-E9698CBA5FB6}" presName="Name1" presStyleCnt="0"/>
      <dgm:spPr/>
    </dgm:pt>
    <dgm:pt modelId="{6591A117-FC21-4C01-BA33-A110D0598CD9}" type="pres">
      <dgm:prSet presAssocID="{BD6C8A60-4698-436B-814E-E9698CBA5FB6}" presName="cycle" presStyleCnt="0"/>
      <dgm:spPr/>
    </dgm:pt>
    <dgm:pt modelId="{A1E30D69-0134-4272-B72F-A96F7542867D}" type="pres">
      <dgm:prSet presAssocID="{BD6C8A60-4698-436B-814E-E9698CBA5FB6}" presName="srcNode" presStyleLbl="node1" presStyleIdx="0" presStyleCnt="4"/>
      <dgm:spPr/>
    </dgm:pt>
    <dgm:pt modelId="{A8044236-7FC3-46FD-AC08-53C931FD3FB9}" type="pres">
      <dgm:prSet presAssocID="{BD6C8A60-4698-436B-814E-E9698CBA5FB6}" presName="conn" presStyleLbl="parChTrans1D2" presStyleIdx="0" presStyleCnt="1"/>
      <dgm:spPr/>
    </dgm:pt>
    <dgm:pt modelId="{5D40F55D-13A2-4F6B-8FA4-984D138A5245}" type="pres">
      <dgm:prSet presAssocID="{BD6C8A60-4698-436B-814E-E9698CBA5FB6}" presName="extraNode" presStyleLbl="node1" presStyleIdx="0" presStyleCnt="4"/>
      <dgm:spPr/>
    </dgm:pt>
    <dgm:pt modelId="{FDCFB9D2-3E5F-45C0-9F58-38DF73631CFE}" type="pres">
      <dgm:prSet presAssocID="{BD6C8A60-4698-436B-814E-E9698CBA5FB6}" presName="dstNode" presStyleLbl="node1" presStyleIdx="0" presStyleCnt="4"/>
      <dgm:spPr/>
    </dgm:pt>
    <dgm:pt modelId="{F3DC9032-3201-46A9-95A8-16AFD1FE3EA1}" type="pres">
      <dgm:prSet presAssocID="{67141580-C21B-4EE0-BB03-583908C87909}" presName="text_1" presStyleLbl="node1" presStyleIdx="0" presStyleCnt="4">
        <dgm:presLayoutVars>
          <dgm:bulletEnabled val="1"/>
        </dgm:presLayoutVars>
      </dgm:prSet>
      <dgm:spPr/>
    </dgm:pt>
    <dgm:pt modelId="{4F722399-1477-4E9B-BBAF-ABA7692A810E}" type="pres">
      <dgm:prSet presAssocID="{67141580-C21B-4EE0-BB03-583908C87909}" presName="accent_1" presStyleCnt="0"/>
      <dgm:spPr/>
    </dgm:pt>
    <dgm:pt modelId="{1217302B-0495-43BC-8FE0-EA649692BC31}" type="pres">
      <dgm:prSet presAssocID="{67141580-C21B-4EE0-BB03-583908C87909}" presName="accentRepeatNode" presStyleLbl="solidFgAcc1" presStyleIdx="0" presStyleCnt="4"/>
      <dgm:spPr>
        <a:ln>
          <a:solidFill>
            <a:schemeClr val="tx1">
              <a:lumMod val="65000"/>
              <a:lumOff val="35000"/>
            </a:schemeClr>
          </a:solidFill>
        </a:ln>
      </dgm:spPr>
    </dgm:pt>
    <dgm:pt modelId="{DA00E9AA-2DDC-4455-88FB-E2E10A1A1649}" type="pres">
      <dgm:prSet presAssocID="{C54549AA-EFD9-4507-AFAF-5B483B305A99}" presName="text_2" presStyleLbl="node1" presStyleIdx="1" presStyleCnt="4">
        <dgm:presLayoutVars>
          <dgm:bulletEnabled val="1"/>
        </dgm:presLayoutVars>
      </dgm:prSet>
      <dgm:spPr/>
    </dgm:pt>
    <dgm:pt modelId="{90964DDA-041F-4233-84D3-19D1613667BD}" type="pres">
      <dgm:prSet presAssocID="{C54549AA-EFD9-4507-AFAF-5B483B305A99}" presName="accent_2" presStyleCnt="0"/>
      <dgm:spPr/>
    </dgm:pt>
    <dgm:pt modelId="{C0C84577-30CB-4EA8-9065-2AE14C3DCD84}" type="pres">
      <dgm:prSet presAssocID="{C54549AA-EFD9-4507-AFAF-5B483B305A99}" presName="accentRepeatNode" presStyleLbl="solidFgAcc1" presStyleIdx="1" presStyleCnt="4"/>
      <dgm:spPr>
        <a:ln>
          <a:solidFill>
            <a:schemeClr val="tx1">
              <a:lumMod val="65000"/>
              <a:lumOff val="35000"/>
            </a:schemeClr>
          </a:solidFill>
        </a:ln>
      </dgm:spPr>
    </dgm:pt>
    <dgm:pt modelId="{45D39319-E7DB-4088-946F-AA35639D3BBE}" type="pres">
      <dgm:prSet presAssocID="{94324ECA-93BF-45F4-82C0-2312A9E11D05}" presName="text_3" presStyleLbl="node1" presStyleIdx="2" presStyleCnt="4">
        <dgm:presLayoutVars>
          <dgm:bulletEnabled val="1"/>
        </dgm:presLayoutVars>
      </dgm:prSet>
      <dgm:spPr/>
    </dgm:pt>
    <dgm:pt modelId="{249670B0-5879-4EC4-8169-BA90EC6EA665}" type="pres">
      <dgm:prSet presAssocID="{94324ECA-93BF-45F4-82C0-2312A9E11D05}" presName="accent_3" presStyleCnt="0"/>
      <dgm:spPr/>
    </dgm:pt>
    <dgm:pt modelId="{6A7483B4-092A-42A0-BD35-0F9ECFEFFC8A}" type="pres">
      <dgm:prSet presAssocID="{94324ECA-93BF-45F4-82C0-2312A9E11D05}" presName="accentRepeatNode" presStyleLbl="solidFgAcc1" presStyleIdx="2" presStyleCnt="4"/>
      <dgm:spPr>
        <a:ln>
          <a:solidFill>
            <a:schemeClr val="tx1">
              <a:lumMod val="65000"/>
              <a:lumOff val="35000"/>
            </a:schemeClr>
          </a:solidFill>
        </a:ln>
      </dgm:spPr>
    </dgm:pt>
    <dgm:pt modelId="{1346B513-26AC-4B51-AD97-90E03A1F7D57}" type="pres">
      <dgm:prSet presAssocID="{FE62389A-5734-4DA1-BDB3-3617BEF96632}" presName="text_4" presStyleLbl="node1" presStyleIdx="3" presStyleCnt="4">
        <dgm:presLayoutVars>
          <dgm:bulletEnabled val="1"/>
        </dgm:presLayoutVars>
      </dgm:prSet>
      <dgm:spPr/>
    </dgm:pt>
    <dgm:pt modelId="{CAE3E124-D625-4BC0-B25A-DA80DB71CB13}" type="pres">
      <dgm:prSet presAssocID="{FE62389A-5734-4DA1-BDB3-3617BEF96632}" presName="accent_4" presStyleCnt="0"/>
      <dgm:spPr/>
    </dgm:pt>
    <dgm:pt modelId="{0EFF6FFF-5455-48F0-90E6-7A26E1CE9CAD}" type="pres">
      <dgm:prSet presAssocID="{FE62389A-5734-4DA1-BDB3-3617BEF96632}" presName="accentRepeatNode" presStyleLbl="solidFgAcc1" presStyleIdx="3" presStyleCnt="4"/>
      <dgm:spPr>
        <a:ln>
          <a:solidFill>
            <a:schemeClr val="tx1">
              <a:lumMod val="65000"/>
              <a:lumOff val="35000"/>
            </a:schemeClr>
          </a:solidFill>
        </a:ln>
      </dgm:spPr>
    </dgm:pt>
  </dgm:ptLst>
  <dgm:cxnLst>
    <dgm:cxn modelId="{08F1F00C-02F4-407A-9571-190D5A22A44A}" type="presOf" srcId="{FE62389A-5734-4DA1-BDB3-3617BEF96632}" destId="{1346B513-26AC-4B51-AD97-90E03A1F7D57}" srcOrd="0" destOrd="0" presId="urn:microsoft.com/office/officeart/2008/layout/VerticalCurvedList"/>
    <dgm:cxn modelId="{2A814944-9488-4D3A-AC1E-7327039E8916}" type="presOf" srcId="{BEE3E9C9-6281-4BED-A808-E6E38CE0A477}" destId="{A8044236-7FC3-46FD-AC08-53C931FD3FB9}" srcOrd="0" destOrd="0" presId="urn:microsoft.com/office/officeart/2008/layout/VerticalCurvedList"/>
    <dgm:cxn modelId="{8E48C449-0DDC-40AD-A965-C486BA7694D3}" type="presOf" srcId="{C54549AA-EFD9-4507-AFAF-5B483B305A99}" destId="{DA00E9AA-2DDC-4455-88FB-E2E10A1A1649}" srcOrd="0" destOrd="0" presId="urn:microsoft.com/office/officeart/2008/layout/VerticalCurvedList"/>
    <dgm:cxn modelId="{9D91A14E-A357-4507-B1CF-07D42EEB55D5}" type="presOf" srcId="{BD6C8A60-4698-436B-814E-E9698CBA5FB6}" destId="{DAE5928A-A20B-4510-891B-0F106C7523C9}" srcOrd="0" destOrd="0" presId="urn:microsoft.com/office/officeart/2008/layout/VerticalCurvedList"/>
    <dgm:cxn modelId="{77ACE47E-2E59-441B-B0C1-AF9D4BB3BCCC}" srcId="{BD6C8A60-4698-436B-814E-E9698CBA5FB6}" destId="{94324ECA-93BF-45F4-82C0-2312A9E11D05}" srcOrd="2" destOrd="0" parTransId="{E5EB3DEF-207E-4F62-989B-941289B112FA}" sibTransId="{78D406D4-80E6-4323-801C-B0F10DFF195F}"/>
    <dgm:cxn modelId="{982EBFAA-B784-455F-8B4F-5677139DFC91}" srcId="{BD6C8A60-4698-436B-814E-E9698CBA5FB6}" destId="{C54549AA-EFD9-4507-AFAF-5B483B305A99}" srcOrd="1" destOrd="0" parTransId="{B4FD981B-7F58-4998-BBA9-CA510BDC95B6}" sibTransId="{576849FC-972E-45B9-B7CF-FF2BEAF6A099}"/>
    <dgm:cxn modelId="{7E27C4AB-A0FC-4BAE-9816-AD1F2FA58C89}" srcId="{BD6C8A60-4698-436B-814E-E9698CBA5FB6}" destId="{FE62389A-5734-4DA1-BDB3-3617BEF96632}" srcOrd="3" destOrd="0" parTransId="{93254042-21FE-430A-90C5-D1BD2E3A84C2}" sibTransId="{0E7649C3-C7DA-4053-B242-92C68723E1A2}"/>
    <dgm:cxn modelId="{A04464AD-3B60-4D68-B617-604872A6F241}" type="presOf" srcId="{67141580-C21B-4EE0-BB03-583908C87909}" destId="{F3DC9032-3201-46A9-95A8-16AFD1FE3EA1}" srcOrd="0" destOrd="0" presId="urn:microsoft.com/office/officeart/2008/layout/VerticalCurvedList"/>
    <dgm:cxn modelId="{EB75AFC4-24D0-4332-AA68-DEF28C788C77}" type="presOf" srcId="{94324ECA-93BF-45F4-82C0-2312A9E11D05}" destId="{45D39319-E7DB-4088-946F-AA35639D3BBE}" srcOrd="0" destOrd="0" presId="urn:microsoft.com/office/officeart/2008/layout/VerticalCurvedList"/>
    <dgm:cxn modelId="{966D00F1-D0A6-4CDC-A75F-4D8234233859}" srcId="{BD6C8A60-4698-436B-814E-E9698CBA5FB6}" destId="{67141580-C21B-4EE0-BB03-583908C87909}" srcOrd="0" destOrd="0" parTransId="{B7B77DEC-3592-4F96-B210-106B8669C5E0}" sibTransId="{BEE3E9C9-6281-4BED-A808-E6E38CE0A477}"/>
    <dgm:cxn modelId="{09D4371B-0C9A-48D7-9DED-2E38A19B9DF0}" type="presParOf" srcId="{DAE5928A-A20B-4510-891B-0F106C7523C9}" destId="{61ED60CB-13CB-42EA-B3C3-203D174AA53E}" srcOrd="0" destOrd="0" presId="urn:microsoft.com/office/officeart/2008/layout/VerticalCurvedList"/>
    <dgm:cxn modelId="{A0D5EC88-13E4-4EB2-A84D-ED8E8796BB2E}" type="presParOf" srcId="{61ED60CB-13CB-42EA-B3C3-203D174AA53E}" destId="{6591A117-FC21-4C01-BA33-A110D0598CD9}" srcOrd="0" destOrd="0" presId="urn:microsoft.com/office/officeart/2008/layout/VerticalCurvedList"/>
    <dgm:cxn modelId="{7F73D9D3-38C0-4C3D-B5EE-FA150CFDEACD}" type="presParOf" srcId="{6591A117-FC21-4C01-BA33-A110D0598CD9}" destId="{A1E30D69-0134-4272-B72F-A96F7542867D}" srcOrd="0" destOrd="0" presId="urn:microsoft.com/office/officeart/2008/layout/VerticalCurvedList"/>
    <dgm:cxn modelId="{EEA2C31C-0F6F-410E-9817-448574A5C90F}" type="presParOf" srcId="{6591A117-FC21-4C01-BA33-A110D0598CD9}" destId="{A8044236-7FC3-46FD-AC08-53C931FD3FB9}" srcOrd="1" destOrd="0" presId="urn:microsoft.com/office/officeart/2008/layout/VerticalCurvedList"/>
    <dgm:cxn modelId="{FF679770-467A-4A35-9C84-93C94D930FD1}" type="presParOf" srcId="{6591A117-FC21-4C01-BA33-A110D0598CD9}" destId="{5D40F55D-13A2-4F6B-8FA4-984D138A5245}" srcOrd="2" destOrd="0" presId="urn:microsoft.com/office/officeart/2008/layout/VerticalCurvedList"/>
    <dgm:cxn modelId="{3E27D0BF-3F21-4469-8390-856AEE8A38EA}" type="presParOf" srcId="{6591A117-FC21-4C01-BA33-A110D0598CD9}" destId="{FDCFB9D2-3E5F-45C0-9F58-38DF73631CFE}" srcOrd="3" destOrd="0" presId="urn:microsoft.com/office/officeart/2008/layout/VerticalCurvedList"/>
    <dgm:cxn modelId="{998C14FC-8FC2-4054-B238-C614343A4DD1}" type="presParOf" srcId="{61ED60CB-13CB-42EA-B3C3-203D174AA53E}" destId="{F3DC9032-3201-46A9-95A8-16AFD1FE3EA1}" srcOrd="1" destOrd="0" presId="urn:microsoft.com/office/officeart/2008/layout/VerticalCurvedList"/>
    <dgm:cxn modelId="{4FAB87CB-880A-475C-B355-69687709FC8C}" type="presParOf" srcId="{61ED60CB-13CB-42EA-B3C3-203D174AA53E}" destId="{4F722399-1477-4E9B-BBAF-ABA7692A810E}" srcOrd="2" destOrd="0" presId="urn:microsoft.com/office/officeart/2008/layout/VerticalCurvedList"/>
    <dgm:cxn modelId="{1DE2352A-01F9-44C6-924F-4A9F9611DD9D}" type="presParOf" srcId="{4F722399-1477-4E9B-BBAF-ABA7692A810E}" destId="{1217302B-0495-43BC-8FE0-EA649692BC31}" srcOrd="0" destOrd="0" presId="urn:microsoft.com/office/officeart/2008/layout/VerticalCurvedList"/>
    <dgm:cxn modelId="{286497D9-7122-4879-97B7-ADAB348E552F}" type="presParOf" srcId="{61ED60CB-13CB-42EA-B3C3-203D174AA53E}" destId="{DA00E9AA-2DDC-4455-88FB-E2E10A1A1649}" srcOrd="3" destOrd="0" presId="urn:microsoft.com/office/officeart/2008/layout/VerticalCurvedList"/>
    <dgm:cxn modelId="{2B6DC811-0002-4F1A-8FA7-47D2D165BED5}" type="presParOf" srcId="{61ED60CB-13CB-42EA-B3C3-203D174AA53E}" destId="{90964DDA-041F-4233-84D3-19D1613667BD}" srcOrd="4" destOrd="0" presId="urn:microsoft.com/office/officeart/2008/layout/VerticalCurvedList"/>
    <dgm:cxn modelId="{F935D9F8-51A4-4111-A517-0C4B77760EA0}" type="presParOf" srcId="{90964DDA-041F-4233-84D3-19D1613667BD}" destId="{C0C84577-30CB-4EA8-9065-2AE14C3DCD84}" srcOrd="0" destOrd="0" presId="urn:microsoft.com/office/officeart/2008/layout/VerticalCurvedList"/>
    <dgm:cxn modelId="{DA7A8126-9312-4CEC-AF6C-A98BE45C06E8}" type="presParOf" srcId="{61ED60CB-13CB-42EA-B3C3-203D174AA53E}" destId="{45D39319-E7DB-4088-946F-AA35639D3BBE}" srcOrd="5" destOrd="0" presId="urn:microsoft.com/office/officeart/2008/layout/VerticalCurvedList"/>
    <dgm:cxn modelId="{C12B0F1F-FC99-414E-B2C4-AA526C9246FB}" type="presParOf" srcId="{61ED60CB-13CB-42EA-B3C3-203D174AA53E}" destId="{249670B0-5879-4EC4-8169-BA90EC6EA665}" srcOrd="6" destOrd="0" presId="urn:microsoft.com/office/officeart/2008/layout/VerticalCurvedList"/>
    <dgm:cxn modelId="{6AF89136-ED04-4AB1-8880-D9FB0E068665}" type="presParOf" srcId="{249670B0-5879-4EC4-8169-BA90EC6EA665}" destId="{6A7483B4-092A-42A0-BD35-0F9ECFEFFC8A}" srcOrd="0" destOrd="0" presId="urn:microsoft.com/office/officeart/2008/layout/VerticalCurvedList"/>
    <dgm:cxn modelId="{B5ABDB01-0929-4E63-A15F-98B1805A519D}" type="presParOf" srcId="{61ED60CB-13CB-42EA-B3C3-203D174AA53E}" destId="{1346B513-26AC-4B51-AD97-90E03A1F7D57}" srcOrd="7" destOrd="0" presId="urn:microsoft.com/office/officeart/2008/layout/VerticalCurvedList"/>
    <dgm:cxn modelId="{0F2FAF96-FD29-4FE4-98DA-F933D55694BF}" type="presParOf" srcId="{61ED60CB-13CB-42EA-B3C3-203D174AA53E}" destId="{CAE3E124-D625-4BC0-B25A-DA80DB71CB13}" srcOrd="8" destOrd="0" presId="urn:microsoft.com/office/officeart/2008/layout/VerticalCurvedList"/>
    <dgm:cxn modelId="{EF7A35B9-8156-4FCC-80B5-313E77BAF5C4}" type="presParOf" srcId="{CAE3E124-D625-4BC0-B25A-DA80DB71CB13}" destId="{0EFF6FFF-5455-48F0-90E6-7A26E1CE9CA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044236-7FC3-46FD-AC08-53C931FD3FB9}">
      <dsp:nvSpPr>
        <dsp:cNvPr id="0" name=""/>
        <dsp:cNvSpPr/>
      </dsp:nvSpPr>
      <dsp:spPr>
        <a:xfrm>
          <a:off x="-5154460" y="-789561"/>
          <a:ext cx="6138203" cy="6138203"/>
        </a:xfrm>
        <a:prstGeom prst="blockArc">
          <a:avLst>
            <a:gd name="adj1" fmla="val 18900000"/>
            <a:gd name="adj2" fmla="val 2700000"/>
            <a:gd name="adj3" fmla="val 352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3DC9032-3201-46A9-95A8-16AFD1FE3EA1}">
      <dsp:nvSpPr>
        <dsp:cNvPr id="0" name=""/>
        <dsp:cNvSpPr/>
      </dsp:nvSpPr>
      <dsp:spPr>
        <a:xfrm>
          <a:off x="515085" y="350502"/>
          <a:ext cx="6833743" cy="7013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6712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Anvisa Regulatory Act (RDC 59/2009)</a:t>
          </a:r>
        </a:p>
      </dsp:txBody>
      <dsp:txXfrm>
        <a:off x="515085" y="350502"/>
        <a:ext cx="6833743" cy="701368"/>
      </dsp:txXfrm>
    </dsp:sp>
    <dsp:sp modelId="{1217302B-0495-43BC-8FE0-EA649692BC31}">
      <dsp:nvSpPr>
        <dsp:cNvPr id="0" name=""/>
        <dsp:cNvSpPr/>
      </dsp:nvSpPr>
      <dsp:spPr>
        <a:xfrm>
          <a:off x="76729" y="262830"/>
          <a:ext cx="876711" cy="87671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65000"/>
              <a:lumOff val="3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A00E9AA-2DDC-4455-88FB-E2E10A1A1649}">
      <dsp:nvSpPr>
        <dsp:cNvPr id="0" name=""/>
        <dsp:cNvSpPr/>
      </dsp:nvSpPr>
      <dsp:spPr>
        <a:xfrm>
          <a:off x="917196" y="1402737"/>
          <a:ext cx="6431632" cy="7013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6712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Anvisa Regulatory Act (RDC 54/2013)</a:t>
          </a:r>
        </a:p>
      </dsp:txBody>
      <dsp:txXfrm>
        <a:off x="917196" y="1402737"/>
        <a:ext cx="6431632" cy="701368"/>
      </dsp:txXfrm>
    </dsp:sp>
    <dsp:sp modelId="{C0C84577-30CB-4EA8-9065-2AE14C3DCD84}">
      <dsp:nvSpPr>
        <dsp:cNvPr id="0" name=""/>
        <dsp:cNvSpPr/>
      </dsp:nvSpPr>
      <dsp:spPr>
        <a:xfrm>
          <a:off x="478840" y="1315066"/>
          <a:ext cx="876711" cy="87671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65000"/>
              <a:lumOff val="3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D39319-E7DB-4088-946F-AA35639D3BBE}">
      <dsp:nvSpPr>
        <dsp:cNvPr id="0" name=""/>
        <dsp:cNvSpPr/>
      </dsp:nvSpPr>
      <dsp:spPr>
        <a:xfrm>
          <a:off x="917196" y="2454973"/>
          <a:ext cx="6431632" cy="701368"/>
        </a:xfrm>
        <a:prstGeom prst="rect">
          <a:avLst/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6712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400" kern="1200" dirty="0"/>
        </a:p>
      </dsp:txBody>
      <dsp:txXfrm>
        <a:off x="917196" y="2454973"/>
        <a:ext cx="6431632" cy="701368"/>
      </dsp:txXfrm>
    </dsp:sp>
    <dsp:sp modelId="{6A7483B4-092A-42A0-BD35-0F9ECFEFFC8A}">
      <dsp:nvSpPr>
        <dsp:cNvPr id="0" name=""/>
        <dsp:cNvSpPr/>
      </dsp:nvSpPr>
      <dsp:spPr>
        <a:xfrm>
          <a:off x="478840" y="2367302"/>
          <a:ext cx="876711" cy="87671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65000"/>
              <a:lumOff val="3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346B513-26AC-4B51-AD97-90E03A1F7D57}">
      <dsp:nvSpPr>
        <dsp:cNvPr id="0" name=""/>
        <dsp:cNvSpPr/>
      </dsp:nvSpPr>
      <dsp:spPr>
        <a:xfrm>
          <a:off x="515085" y="3507209"/>
          <a:ext cx="6833743" cy="7013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6712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Anvisa Regulatory Act (RDC 157/2017)</a:t>
          </a:r>
        </a:p>
      </dsp:txBody>
      <dsp:txXfrm>
        <a:off x="515085" y="3507209"/>
        <a:ext cx="6833743" cy="701368"/>
      </dsp:txXfrm>
    </dsp:sp>
    <dsp:sp modelId="{0EFF6FFF-5455-48F0-90E6-7A26E1CE9CAD}">
      <dsp:nvSpPr>
        <dsp:cNvPr id="0" name=""/>
        <dsp:cNvSpPr/>
      </dsp:nvSpPr>
      <dsp:spPr>
        <a:xfrm>
          <a:off x="76729" y="3419537"/>
          <a:ext cx="876711" cy="87671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65000"/>
              <a:lumOff val="3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160520" cy="662305"/>
          </a:xfrm>
          <a:prstGeom prst="rect">
            <a:avLst/>
          </a:prstGeom>
        </p:spPr>
        <p:txBody>
          <a:bodyPr vert="horz" wrap="square" lIns="130541" tIns="65271" rIns="130541" bIns="65271" numCol="1" anchor="t" anchorCtr="0" compatLnSpc="1">
            <a:prstTxWarp prst="textNoShape">
              <a:avLst/>
            </a:prstTxWarp>
          </a:bodyPr>
          <a:lstStyle>
            <a:lvl1pPr defTabSz="1042519">
              <a:defRPr sz="1700">
                <a:latin typeface="Calibri" pitchFamily="-108" charset="0"/>
                <a:cs typeface="ＭＳ Ｐゴシック" pitchFamily="-108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438459" y="0"/>
            <a:ext cx="4160520" cy="662305"/>
          </a:xfrm>
          <a:prstGeom prst="rect">
            <a:avLst/>
          </a:prstGeom>
        </p:spPr>
        <p:txBody>
          <a:bodyPr vert="horz" wrap="square" lIns="130541" tIns="65271" rIns="130541" bIns="65271" numCol="1" anchor="t" anchorCtr="0" compatLnSpc="1">
            <a:prstTxWarp prst="textNoShape">
              <a:avLst/>
            </a:prstTxWarp>
          </a:bodyPr>
          <a:lstStyle>
            <a:lvl1pPr algn="r" defTabSz="1042519">
              <a:defRPr sz="1700">
                <a:latin typeface="Calibri" pitchFamily="-108" charset="0"/>
              </a:defRPr>
            </a:lvl1pPr>
          </a:lstStyle>
          <a:p>
            <a:fld id="{15FE9189-6858-455A-B27F-B1E4D7D88333}" type="datetime1">
              <a:rPr lang="en-US"/>
              <a:pPr/>
              <a:t>4/9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12581497"/>
            <a:ext cx="4160520" cy="662305"/>
          </a:xfrm>
          <a:prstGeom prst="rect">
            <a:avLst/>
          </a:prstGeom>
        </p:spPr>
        <p:txBody>
          <a:bodyPr vert="horz" wrap="square" lIns="130541" tIns="65271" rIns="130541" bIns="65271" numCol="1" anchor="b" anchorCtr="0" compatLnSpc="1">
            <a:prstTxWarp prst="textNoShape">
              <a:avLst/>
            </a:prstTxWarp>
          </a:bodyPr>
          <a:lstStyle>
            <a:lvl1pPr defTabSz="1042519">
              <a:defRPr sz="1700">
                <a:latin typeface="Calibri" pitchFamily="-108" charset="0"/>
                <a:cs typeface="ＭＳ Ｐゴシック" pitchFamily="-108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438459" y="12581497"/>
            <a:ext cx="4160520" cy="662305"/>
          </a:xfrm>
          <a:prstGeom prst="rect">
            <a:avLst/>
          </a:prstGeom>
        </p:spPr>
        <p:txBody>
          <a:bodyPr vert="horz" wrap="square" lIns="130541" tIns="65271" rIns="130541" bIns="65271" numCol="1" anchor="b" anchorCtr="0" compatLnSpc="1">
            <a:prstTxWarp prst="textNoShape">
              <a:avLst/>
            </a:prstTxWarp>
          </a:bodyPr>
          <a:lstStyle>
            <a:lvl1pPr algn="r" defTabSz="1042519">
              <a:defRPr sz="1700">
                <a:latin typeface="Calibri" pitchFamily="-108" charset="0"/>
              </a:defRPr>
            </a:lvl1pPr>
          </a:lstStyle>
          <a:p>
            <a:fld id="{876D03C1-1A94-4F2C-8CEA-00FE0B12F04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125315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160520" cy="662305"/>
          </a:xfrm>
          <a:prstGeom prst="rect">
            <a:avLst/>
          </a:prstGeom>
        </p:spPr>
        <p:txBody>
          <a:bodyPr vert="horz" wrap="square" lIns="130541" tIns="65271" rIns="130541" bIns="65271" numCol="1" anchor="t" anchorCtr="0" compatLnSpc="1">
            <a:prstTxWarp prst="textNoShape">
              <a:avLst/>
            </a:prstTxWarp>
          </a:bodyPr>
          <a:lstStyle>
            <a:lvl1pPr defTabSz="1042519">
              <a:defRPr sz="1700">
                <a:latin typeface="Calibri" pitchFamily="-108" charset="0"/>
                <a:cs typeface="ＭＳ Ｐゴシック" pitchFamily="-108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438459" y="0"/>
            <a:ext cx="4160520" cy="662305"/>
          </a:xfrm>
          <a:prstGeom prst="rect">
            <a:avLst/>
          </a:prstGeom>
        </p:spPr>
        <p:txBody>
          <a:bodyPr vert="horz" wrap="square" lIns="130541" tIns="65271" rIns="130541" bIns="65271" numCol="1" anchor="t" anchorCtr="0" compatLnSpc="1">
            <a:prstTxWarp prst="textNoShape">
              <a:avLst/>
            </a:prstTxWarp>
          </a:bodyPr>
          <a:lstStyle>
            <a:lvl1pPr algn="r" defTabSz="1042519">
              <a:defRPr sz="1700">
                <a:latin typeface="Calibri" pitchFamily="-108" charset="0"/>
              </a:defRPr>
            </a:lvl1pPr>
          </a:lstStyle>
          <a:p>
            <a:fld id="{444280F0-9C5A-414C-AEE8-E94BD83FD3BB}" type="datetime1">
              <a:rPr lang="en-US"/>
              <a:pPr/>
              <a:t>4/9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5763" y="993775"/>
            <a:ext cx="8829675" cy="49672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130541" tIns="65271" rIns="130541" bIns="65271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60120" y="6291898"/>
            <a:ext cx="7680960" cy="5960745"/>
          </a:xfrm>
          <a:prstGeom prst="rect">
            <a:avLst/>
          </a:prstGeom>
        </p:spPr>
        <p:txBody>
          <a:bodyPr vert="horz" wrap="square" lIns="130541" tIns="65271" rIns="130541" bIns="65271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2581497"/>
            <a:ext cx="4160520" cy="662305"/>
          </a:xfrm>
          <a:prstGeom prst="rect">
            <a:avLst/>
          </a:prstGeom>
        </p:spPr>
        <p:txBody>
          <a:bodyPr vert="horz" wrap="square" lIns="130541" tIns="65271" rIns="130541" bIns="65271" numCol="1" anchor="b" anchorCtr="0" compatLnSpc="1">
            <a:prstTxWarp prst="textNoShape">
              <a:avLst/>
            </a:prstTxWarp>
          </a:bodyPr>
          <a:lstStyle>
            <a:lvl1pPr defTabSz="1042519">
              <a:defRPr sz="1700">
                <a:latin typeface="Calibri" pitchFamily="-108" charset="0"/>
                <a:cs typeface="ＭＳ Ｐゴシック" pitchFamily="-108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438459" y="12581497"/>
            <a:ext cx="4160520" cy="662305"/>
          </a:xfrm>
          <a:prstGeom prst="rect">
            <a:avLst/>
          </a:prstGeom>
        </p:spPr>
        <p:txBody>
          <a:bodyPr vert="horz" wrap="square" lIns="130541" tIns="65271" rIns="130541" bIns="65271" numCol="1" anchor="b" anchorCtr="0" compatLnSpc="1">
            <a:prstTxWarp prst="textNoShape">
              <a:avLst/>
            </a:prstTxWarp>
          </a:bodyPr>
          <a:lstStyle>
            <a:lvl1pPr algn="r" defTabSz="1042519">
              <a:defRPr sz="1700">
                <a:latin typeface="Calibri" pitchFamily="-108" charset="0"/>
              </a:defRPr>
            </a:lvl1pPr>
          </a:lstStyle>
          <a:p>
            <a:fld id="{65CFE395-C308-405F-932A-043314628FE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184650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317500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+mn-lt"/>
        <a:ea typeface="ＭＳ Ｐゴシック" pitchFamily="-65" charset="-128"/>
        <a:cs typeface="ＭＳ Ｐゴシック" pitchFamily="-65" charset="-128"/>
      </a:defRPr>
    </a:lvl1pPr>
    <a:lvl2pPr marL="317500" algn="l" defTabSz="317500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+mn-lt"/>
        <a:ea typeface="ＭＳ Ｐゴシック" pitchFamily="-65" charset="-128"/>
        <a:cs typeface="+mn-cs"/>
      </a:defRPr>
    </a:lvl2pPr>
    <a:lvl3pPr marL="638175" algn="l" defTabSz="317500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+mn-lt"/>
        <a:ea typeface="ＭＳ Ｐゴシック" pitchFamily="-65" charset="-128"/>
        <a:cs typeface="+mn-cs"/>
      </a:defRPr>
    </a:lvl3pPr>
    <a:lvl4pPr marL="957263" algn="l" defTabSz="317500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+mn-lt"/>
        <a:ea typeface="ＭＳ Ｐゴシック" pitchFamily="-65" charset="-128"/>
        <a:cs typeface="+mn-cs"/>
      </a:defRPr>
    </a:lvl4pPr>
    <a:lvl5pPr marL="1277938" algn="l" defTabSz="317500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+mn-lt"/>
        <a:ea typeface="ＭＳ Ｐゴシック" pitchFamily="-65" charset="-128"/>
        <a:cs typeface="+mn-cs"/>
      </a:defRPr>
    </a:lvl5pPr>
    <a:lvl6pPr marL="1600120" algn="l" defTabSz="32002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920144" algn="l" defTabSz="32002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240168" algn="l" defTabSz="32002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560192" algn="l" defTabSz="32002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A1805AF-B3CB-4174-A492-6570874877B8}" type="slidenum">
              <a:rPr lang="nl-NL"/>
              <a:pPr/>
              <a:t>1</a:t>
            </a:fld>
            <a:endParaRPr lang="nl-NL"/>
          </a:p>
        </p:txBody>
      </p:sp>
      <p:sp>
        <p:nvSpPr>
          <p:cNvPr id="4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06400" y="696913"/>
            <a:ext cx="6197600" cy="3486150"/>
          </a:xfrm>
          <a:ln/>
        </p:spPr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0531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63E706-BB60-475A-8521-AC2D5AD7F0F5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38397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4213"/>
            <a:ext cx="6096000" cy="3430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13704E-9C8B-4055-A4A8-368E1CEE010C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6152303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5763" y="993775"/>
            <a:ext cx="8829675" cy="49672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614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charset="0"/>
            </a:endParaRPr>
          </a:p>
        </p:txBody>
      </p:sp>
      <p:sp>
        <p:nvSpPr>
          <p:cNvPr id="614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7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1058666" indent="-407009">
              <a:defRPr sz="17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630257" indent="-324717">
              <a:defRPr sz="17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2284139" indent="-324717">
              <a:defRPr sz="17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935796" indent="-324717">
              <a:defRPr sz="17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3576333" indent="-324717" eaLnBrk="0" fontAlgn="base" hangingPunct="0">
              <a:spcBef>
                <a:spcPct val="3000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4216870" indent="-324717" eaLnBrk="0" fontAlgn="base" hangingPunct="0">
              <a:spcBef>
                <a:spcPct val="3000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4857407" indent="-324717" eaLnBrk="0" fontAlgn="base" hangingPunct="0">
              <a:spcBef>
                <a:spcPct val="3000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5497944" indent="-324717" eaLnBrk="0" fontAlgn="base" hangingPunct="0">
              <a:spcBef>
                <a:spcPct val="3000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fld id="{D8136735-2E4B-C24C-BB46-556C112E7B3F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3412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63E706-BB60-475A-8521-AC2D5AD7F0F5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00358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4213"/>
            <a:ext cx="6096000" cy="3430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13704E-9C8B-4055-A4A8-368E1CEE010C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8864335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4213"/>
            <a:ext cx="6096000" cy="3430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13704E-9C8B-4055-A4A8-368E1CEE010C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745146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4213"/>
            <a:ext cx="6096000" cy="3430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13704E-9C8B-4055-A4A8-368E1CEE010C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8486402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4213"/>
            <a:ext cx="6096000" cy="3430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13704E-9C8B-4055-A4A8-368E1CEE010C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7367803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4213"/>
            <a:ext cx="6096000" cy="3430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13704E-9C8B-4055-A4A8-368E1CEE010C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5620334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895600"/>
            <a:ext cx="10972800" cy="6096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603069" y="3648075"/>
            <a:ext cx="10972800" cy="466725"/>
          </a:xfrm>
        </p:spPr>
        <p:txBody>
          <a:bodyPr/>
          <a:lstStyle>
            <a:lvl1pPr>
              <a:defRPr sz="3200"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4004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6536" y="228602"/>
            <a:ext cx="10963415" cy="615553"/>
          </a:xfrm>
        </p:spPr>
        <p:txBody>
          <a:bodyPr/>
          <a:lstStyle>
            <a:lvl1pPr>
              <a:defRPr b="1">
                <a:solidFill>
                  <a:srgbClr val="9BAC2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6533" y="2171700"/>
            <a:ext cx="10963416" cy="3429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26535" y="1371602"/>
            <a:ext cx="10964333" cy="571500"/>
          </a:xfrm>
        </p:spPr>
        <p:txBody>
          <a:bodyPr lIns="91440" tIns="0" rIns="0" bIns="0" anchor="ctr" anchorCtr="0">
            <a:noAutofit/>
          </a:bodyPr>
          <a:lstStyle>
            <a:lvl1pPr marL="0" indent="0">
              <a:buNone/>
              <a:defRPr sz="3200" b="1" cap="all" baseline="0">
                <a:solidFill>
                  <a:srgbClr val="3D596A"/>
                </a:solidFill>
                <a:latin typeface="Century Gothic"/>
                <a:cs typeface="Century Gothic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4565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push dir="u"/>
      </p:transition>
    </mc:Choice>
    <mc:Fallback xmlns="">
      <p:transition xmlns:p14="http://schemas.microsoft.com/office/powerpoint/2010/main" spd="slow">
        <p:push dir="u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895600"/>
            <a:ext cx="10972800" cy="1600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90008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658855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19863"/>
            <a:ext cx="12192000" cy="347662"/>
          </a:xfrm>
          <a:prstGeom prst="rect">
            <a:avLst/>
          </a:prstGeom>
          <a:solidFill>
            <a:srgbClr val="F306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11162">
              <a:defRPr/>
            </a:pPr>
            <a:endParaRPr lang="en-US" sz="2000" dirty="0">
              <a:solidFill>
                <a:srgbClr val="FFFFFF"/>
              </a:solidFill>
            </a:endParaRPr>
          </a:p>
        </p:txBody>
      </p:sp>
      <p:pic>
        <p:nvPicPr>
          <p:cNvPr id="7" name="Picture 11" descr="jnj_SupplyChain_logo_horizontal_White.pdf"/>
          <p:cNvPicPr>
            <a:picLocks noChangeAspect="1"/>
          </p:cNvPicPr>
          <p:nvPr userDrawn="1"/>
        </p:nvPicPr>
        <p:blipFill>
          <a:blip r:embed="rId6"/>
          <a:srcRect l="25760" t="42699" r="25294" b="46190"/>
          <a:stretch>
            <a:fillRect/>
          </a:stretch>
        </p:blipFill>
        <p:spPr bwMode="auto">
          <a:xfrm>
            <a:off x="82550" y="6486525"/>
            <a:ext cx="19177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257780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5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5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5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1600200"/>
            <a:ext cx="3511296" cy="4572000"/>
          </a:xfrm>
        </p:spPr>
        <p:txBody>
          <a:bodyPr/>
          <a:lstStyle>
            <a:lvl1pPr>
              <a:defRPr sz="2400">
                <a:solidFill>
                  <a:srgbClr val="555555"/>
                </a:solidFill>
              </a:defRPr>
            </a:lvl1pPr>
            <a:lvl2pPr>
              <a:defRPr sz="2000">
                <a:solidFill>
                  <a:srgbClr val="555555"/>
                </a:solidFill>
              </a:defRPr>
            </a:lvl2pPr>
            <a:lvl3pPr>
              <a:defRPr sz="1800">
                <a:solidFill>
                  <a:srgbClr val="555555"/>
                </a:solidFill>
              </a:defRPr>
            </a:lvl3pPr>
            <a:lvl4pPr>
              <a:defRPr sz="1600">
                <a:solidFill>
                  <a:srgbClr val="555555"/>
                </a:solidFill>
              </a:defRPr>
            </a:lvl4pPr>
            <a:lvl5pPr>
              <a:defRPr sz="1600">
                <a:solidFill>
                  <a:srgbClr val="555555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340352" y="1600200"/>
            <a:ext cx="3511296" cy="45720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8071104" y="1600200"/>
            <a:ext cx="3511296" cy="4572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245600" y="649287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7F903BAD-29E2-4CFE-92A0-D5FD9AA427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933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61555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609585" indent="0" algn="ctr">
              <a:buNone/>
              <a:defRPr/>
            </a:lvl2pPr>
            <a:lvl3pPr marL="1219170" indent="0" algn="ctr">
              <a:buNone/>
              <a:defRPr/>
            </a:lvl3pPr>
            <a:lvl4pPr marL="1828754" indent="0" algn="ctr">
              <a:buNone/>
              <a:defRPr/>
            </a:lvl4pPr>
            <a:lvl5pPr marL="2438339" indent="0" algn="ctr">
              <a:buNone/>
              <a:defRPr/>
            </a:lvl5pPr>
            <a:lvl6pPr marL="3047924" indent="0" algn="ctr">
              <a:buNone/>
              <a:defRPr/>
            </a:lvl6pPr>
            <a:lvl7pPr marL="3657509" indent="0" algn="ctr">
              <a:buNone/>
              <a:defRPr/>
            </a:lvl7pPr>
            <a:lvl8pPr marL="4267093" indent="0" algn="ctr">
              <a:buNone/>
              <a:defRPr/>
            </a:lvl8pPr>
            <a:lvl9pPr marL="4876678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4800" cy="4762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nl-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245225"/>
            <a:ext cx="3860800" cy="4762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A1903D9-4DC0-4275-B696-AF9CB401DC08}" type="slidenum">
              <a:rPr lang="nl-NL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64013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3.bin"/><Relationship Id="rId5" Type="http://schemas.openxmlformats.org/officeDocument/2006/relationships/tags" Target="../tags/tag4.xml"/><Relationship Id="rId4" Type="http://schemas.openxmlformats.org/officeDocument/2006/relationships/vmlDrawing" Target="../drawings/vmlDrawing3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8.xml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7.xml"/><Relationship Id="rId9" Type="http://schemas.openxmlformats.org/officeDocument/2006/relationships/vmlDrawing" Target="../drawings/vmlDrawing6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819400"/>
            <a:ext cx="109728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12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5715007"/>
            <a:ext cx="10972800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5" descr="jnj_SupplyChain_logo_preferred_RGB_2color.pdf"/>
          <p:cNvPicPr>
            <a:picLocks noChangeAspect="1"/>
          </p:cNvPicPr>
          <p:nvPr userDrawn="1"/>
        </p:nvPicPr>
        <p:blipFill>
          <a:blip r:embed="rId7"/>
          <a:srcRect l="27779" t="45802" r="25000" b="45377"/>
          <a:stretch>
            <a:fillRect/>
          </a:stretch>
        </p:blipFill>
        <p:spPr bwMode="auto">
          <a:xfrm>
            <a:off x="67734" y="619126"/>
            <a:ext cx="5211580" cy="752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Placeholder 1"/>
          <p:cNvSpPr txBox="1">
            <a:spLocks/>
          </p:cNvSpPr>
          <p:nvPr userDrawn="1"/>
        </p:nvSpPr>
        <p:spPr bwMode="auto">
          <a:xfrm>
            <a:off x="609600" y="3505200"/>
            <a:ext cx="109728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189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1"/>
                </a:solidFill>
                <a:latin typeface="Georgia"/>
                <a:ea typeface="ＭＳ Ｐゴシック" pitchFamily="-108" charset="-128"/>
                <a:cs typeface="ＭＳ Ｐゴシック" pitchFamily="-108" charset="-128"/>
              </a:defRPr>
            </a:lvl1pPr>
            <a:lvl2pPr algn="l" defTabSz="457189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1"/>
                </a:solidFill>
                <a:latin typeface="Georgia" pitchFamily="-108" charset="0"/>
                <a:ea typeface="ＭＳ Ｐゴシック" pitchFamily="-108" charset="-128"/>
                <a:cs typeface="ＭＳ Ｐゴシック" pitchFamily="-108" charset="-128"/>
              </a:defRPr>
            </a:lvl2pPr>
            <a:lvl3pPr algn="l" defTabSz="457189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1"/>
                </a:solidFill>
                <a:latin typeface="Georgia" pitchFamily="-108" charset="0"/>
                <a:ea typeface="ＭＳ Ｐゴシック" pitchFamily="-108" charset="-128"/>
                <a:cs typeface="ＭＳ Ｐゴシック" pitchFamily="-108" charset="-128"/>
              </a:defRPr>
            </a:lvl3pPr>
            <a:lvl4pPr algn="l" defTabSz="457189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1"/>
                </a:solidFill>
                <a:latin typeface="Georgia" pitchFamily="-108" charset="0"/>
                <a:ea typeface="ＭＳ Ｐゴシック" pitchFamily="-108" charset="-128"/>
                <a:cs typeface="ＭＳ Ｐゴシック" pitchFamily="-108" charset="-128"/>
              </a:defRPr>
            </a:lvl4pPr>
            <a:lvl5pPr algn="l" defTabSz="457189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1"/>
                </a:solidFill>
                <a:latin typeface="Georgia" pitchFamily="-108" charset="0"/>
                <a:ea typeface="ＭＳ Ｐゴシック" pitchFamily="-108" charset="-128"/>
                <a:cs typeface="ＭＳ Ｐゴシック" pitchFamily="-108" charset="-128"/>
              </a:defRPr>
            </a:lvl5pPr>
            <a:lvl6pPr marL="457189" algn="l" defTabSz="457189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1"/>
                </a:solidFill>
                <a:latin typeface="Georgia" pitchFamily="-108" charset="0"/>
                <a:ea typeface="ＭＳ Ｐゴシック" pitchFamily="-108" charset="-128"/>
                <a:cs typeface="ＭＳ Ｐゴシック" pitchFamily="-108" charset="-128"/>
              </a:defRPr>
            </a:lvl6pPr>
            <a:lvl7pPr marL="914377" algn="l" defTabSz="457189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1"/>
                </a:solidFill>
                <a:latin typeface="Georgia" pitchFamily="-108" charset="0"/>
                <a:ea typeface="ＭＳ Ｐゴシック" pitchFamily="-108" charset="-128"/>
                <a:cs typeface="ＭＳ Ｐゴシック" pitchFamily="-108" charset="-128"/>
              </a:defRPr>
            </a:lvl7pPr>
            <a:lvl8pPr marL="1371566" algn="l" defTabSz="457189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1"/>
                </a:solidFill>
                <a:latin typeface="Georgia" pitchFamily="-108" charset="0"/>
                <a:ea typeface="ＭＳ Ｐゴシック" pitchFamily="-108" charset="-128"/>
                <a:cs typeface="ＭＳ Ｐゴシック" pitchFamily="-108" charset="-128"/>
              </a:defRPr>
            </a:lvl8pPr>
            <a:lvl9pPr marL="1828754" algn="l" defTabSz="457189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1"/>
                </a:solidFill>
                <a:latin typeface="Georgia" pitchFamily="-108" charset="0"/>
                <a:ea typeface="ＭＳ Ｐゴシック" pitchFamily="-108" charset="-128"/>
                <a:cs typeface="ＭＳ Ｐゴシック" pitchFamily="-108" charset="-128"/>
              </a:defRPr>
            </a:lvl9pPr>
          </a:lstStyle>
          <a:p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5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</p:sldLayoutIdLst>
  <p:hf sldNum="0" hdr="0" ftr="0" dt="0"/>
  <p:txStyles>
    <p:titleStyle>
      <a:lvl1pPr algn="l" defTabSz="457189" rtl="0" eaLnBrk="1" fontAlgn="base" hangingPunct="1">
        <a:spcBef>
          <a:spcPct val="0"/>
        </a:spcBef>
        <a:spcAft>
          <a:spcPct val="0"/>
        </a:spcAft>
        <a:defRPr sz="4000" kern="1200">
          <a:solidFill>
            <a:schemeClr val="tx1"/>
          </a:solidFill>
          <a:latin typeface="Georgia"/>
          <a:ea typeface="ＭＳ Ｐゴシック" pitchFamily="-108" charset="-128"/>
          <a:cs typeface="ＭＳ Ｐゴシック" pitchFamily="-108" charset="-128"/>
        </a:defRPr>
      </a:lvl1pPr>
      <a:lvl2pPr algn="l" defTabSz="457189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2pPr>
      <a:lvl3pPr algn="l" defTabSz="457189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3pPr>
      <a:lvl4pPr algn="l" defTabSz="457189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4pPr>
      <a:lvl5pPr algn="l" defTabSz="457189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5pPr>
      <a:lvl6pPr marL="457189" algn="l" defTabSz="457189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6pPr>
      <a:lvl7pPr marL="914377" algn="l" defTabSz="457189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7pPr>
      <a:lvl8pPr marL="1371566" algn="l" defTabSz="457189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8pPr>
      <a:lvl9pPr marL="1828754" algn="l" defTabSz="457189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9pPr>
    </p:titleStyle>
    <p:bodyStyle>
      <a:lvl1pPr marL="342891" indent="-342891" algn="l" defTabSz="457189" rtl="0" eaLnBrk="1" fontAlgn="base" hangingPunct="1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ＭＳ Ｐゴシック" pitchFamily="-108" charset="-128"/>
        </a:defRPr>
      </a:lvl1pPr>
      <a:lvl2pPr marL="742932" indent="-285744" algn="l" defTabSz="457189" rtl="0" eaLnBrk="1" fontAlgn="base" hangingPunct="1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+mn-cs"/>
        </a:defRPr>
      </a:lvl2pPr>
      <a:lvl3pPr marL="1142971" indent="-228594" algn="l" defTabSz="457189" rtl="0" eaLnBrk="1" fontAlgn="base" hangingPunct="1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+mn-cs"/>
        </a:defRPr>
      </a:lvl3pPr>
      <a:lvl4pPr marL="1600160" indent="-228594" algn="l" defTabSz="457189" rtl="0" eaLnBrk="1" fontAlgn="base" hangingPunct="1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+mn-cs"/>
        </a:defRPr>
      </a:lvl4pPr>
      <a:lvl5pPr marL="2057349" indent="-228594" algn="l" defTabSz="457189" rtl="0" eaLnBrk="1" fontAlgn="base" hangingPunct="1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748927"/>
            <a:ext cx="12192000" cy="5148262"/>
          </a:xfrm>
          <a:prstGeom prst="rect">
            <a:avLst/>
          </a:prstGeom>
          <a:solidFill>
            <a:srgbClr val="B4B4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latin typeface="Arial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6389290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895600"/>
            <a:ext cx="109728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12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5715003"/>
            <a:ext cx="10972800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5" descr="jnj_SupplyChain_logo_preferred_RGB_2color.pdf"/>
          <p:cNvPicPr>
            <a:picLocks noChangeAspect="1"/>
          </p:cNvPicPr>
          <p:nvPr userDrawn="1"/>
        </p:nvPicPr>
        <p:blipFill>
          <a:blip r:embed="rId8"/>
          <a:srcRect l="27779" t="45802" r="25000" b="45377"/>
          <a:stretch>
            <a:fillRect/>
          </a:stretch>
        </p:blipFill>
        <p:spPr bwMode="auto">
          <a:xfrm>
            <a:off x="228600" y="652463"/>
            <a:ext cx="47498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"/>
          <p:cNvSpPr/>
          <p:nvPr userDrawn="1"/>
        </p:nvSpPr>
        <p:spPr>
          <a:xfrm>
            <a:off x="609600" y="3615220"/>
            <a:ext cx="611898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Georgia" panose="02040502050405020303" pitchFamily="18" charset="0"/>
              </a:rPr>
              <a:t>Subtitle if needed (Georgia 32pt)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696" r:id="rId2"/>
  </p:sldLayoutIdLst>
  <p:hf sldNum="0" hdr="0" ftr="0" dt="0"/>
  <p:txStyles>
    <p:titleStyle>
      <a:lvl1pPr algn="l" defTabSz="457189" rtl="0" eaLnBrk="0" fontAlgn="base" hangingPunct="0">
        <a:spcBef>
          <a:spcPct val="0"/>
        </a:spcBef>
        <a:spcAft>
          <a:spcPct val="0"/>
        </a:spcAft>
        <a:defRPr sz="4000" kern="1200">
          <a:solidFill>
            <a:schemeClr val="bg1"/>
          </a:solidFill>
          <a:latin typeface="Georgia"/>
          <a:ea typeface="ＭＳ Ｐゴシック" pitchFamily="-108" charset="-128"/>
          <a:cs typeface="ＭＳ Ｐゴシック" pitchFamily="-108" charset="-128"/>
        </a:defRPr>
      </a:lvl1pPr>
      <a:lvl2pPr algn="l" defTabSz="457189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2pPr>
      <a:lvl3pPr algn="l" defTabSz="457189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3pPr>
      <a:lvl4pPr algn="l" defTabSz="457189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4pPr>
      <a:lvl5pPr algn="l" defTabSz="457189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5pPr>
      <a:lvl6pPr marL="457189" algn="l" defTabSz="457189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6pPr>
      <a:lvl7pPr marL="914377" algn="l" defTabSz="457189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7pPr>
      <a:lvl8pPr marL="1371566" algn="l" defTabSz="457189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8pPr>
      <a:lvl9pPr marL="1828754" algn="l" defTabSz="457189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Georgia" pitchFamily="-108" charset="0"/>
          <a:ea typeface="ＭＳ Ｐゴシック" pitchFamily="-108" charset="-128"/>
          <a:cs typeface="ＭＳ Ｐゴシック" pitchFamily="-108" charset="-128"/>
        </a:defRPr>
      </a:lvl9pPr>
    </p:titleStyle>
    <p:bodyStyle>
      <a:lvl1pPr marL="342891" indent="-342891" algn="l" defTabSz="457189" rtl="0" eaLnBrk="0" fontAlgn="base" hangingPunct="0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ＭＳ Ｐゴシック" pitchFamily="-108" charset="-128"/>
        </a:defRPr>
      </a:lvl1pPr>
      <a:lvl2pPr marL="742932" indent="-285744" algn="l" defTabSz="457189" rtl="0" eaLnBrk="0" fontAlgn="base" hangingPunct="0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+mn-cs"/>
        </a:defRPr>
      </a:lvl2pPr>
      <a:lvl3pPr marL="1142971" indent="-228594" algn="l" defTabSz="457189" rtl="0" eaLnBrk="0" fontAlgn="base" hangingPunct="0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+mn-cs"/>
        </a:defRPr>
      </a:lvl3pPr>
      <a:lvl4pPr marL="1600160" indent="-228594" algn="l" defTabSz="457189" rtl="0" eaLnBrk="0" fontAlgn="base" hangingPunct="0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+mn-cs"/>
        </a:defRPr>
      </a:lvl4pPr>
      <a:lvl5pPr marL="2057349" indent="-228594" algn="l" defTabSz="457189" rtl="0" eaLnBrk="0" fontAlgn="base" hangingPunct="0">
        <a:spcBef>
          <a:spcPct val="0"/>
        </a:spcBef>
        <a:spcAft>
          <a:spcPct val="0"/>
        </a:spcAft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31826638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519863"/>
            <a:ext cx="12192000" cy="347662"/>
          </a:xfrm>
          <a:prstGeom prst="rect">
            <a:avLst/>
          </a:prstGeom>
          <a:solidFill>
            <a:srgbClr val="F306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511162">
              <a:defRPr/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9219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457200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922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3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10"/>
          <p:cNvSpPr txBox="1">
            <a:spLocks/>
          </p:cNvSpPr>
          <p:nvPr userDrawn="1"/>
        </p:nvSpPr>
        <p:spPr>
          <a:xfrm>
            <a:off x="2844800" y="5638803"/>
            <a:ext cx="5283200" cy="34766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r">
              <a:buNone/>
              <a:defRPr sz="800" b="0" i="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marL="342891" indent="-342891" defTabSz="457189" fontAlgn="auto">
              <a:spcBef>
                <a:spcPct val="20000"/>
              </a:spcBef>
              <a:spcAft>
                <a:spcPts val="0"/>
              </a:spcAft>
              <a:buFont typeface="Arial"/>
              <a:buNone/>
              <a:defRPr/>
            </a:pPr>
            <a:r>
              <a:rPr lang="en-US" sz="800" dirty="0">
                <a:ea typeface="+mn-ea"/>
              </a:rPr>
              <a:t>SUBGROUP NAME: REGION AND/OR PROJRCT  |  Confidential  | Month 00, 0000</a:t>
            </a:r>
          </a:p>
        </p:txBody>
      </p:sp>
      <p:sp>
        <p:nvSpPr>
          <p:cNvPr id="16" name="Text Placeholder 10"/>
          <p:cNvSpPr txBox="1">
            <a:spLocks/>
          </p:cNvSpPr>
          <p:nvPr userDrawn="1"/>
        </p:nvSpPr>
        <p:spPr>
          <a:xfrm>
            <a:off x="5922264" y="6519863"/>
            <a:ext cx="347472" cy="347662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/>
          <a:p>
            <a:pPr marL="342891" indent="-342891" algn="r" defTabSz="457189">
              <a:spcBef>
                <a:spcPct val="20000"/>
              </a:spcBef>
              <a:buFont typeface="Arial" charset="0"/>
              <a:buNone/>
            </a:pPr>
            <a:fld id="{01C95413-A391-4D83-A9B0-870EE57D07D0}" type="slidenum">
              <a:rPr lang="en-US" sz="800" smtClean="0">
                <a:solidFill>
                  <a:schemeClr val="bg1"/>
                </a:solidFill>
                <a:cs typeface="Arial" charset="0"/>
              </a:rPr>
              <a:pPr marL="342891" indent="-342891" algn="r" defTabSz="457189">
                <a:spcBef>
                  <a:spcPct val="20000"/>
                </a:spcBef>
                <a:buFont typeface="Arial" charset="0"/>
                <a:buNone/>
              </a:pPr>
              <a:t>‹#›</a:t>
            </a:fld>
            <a:endParaRPr lang="en-US" sz="800" dirty="0">
              <a:solidFill>
                <a:schemeClr val="bg1"/>
              </a:solidFill>
              <a:cs typeface="Arial" charset="0"/>
            </a:endParaRPr>
          </a:p>
        </p:txBody>
      </p:sp>
      <p:pic>
        <p:nvPicPr>
          <p:cNvPr id="9" name="Picture 11" descr="jnj_SupplyChain_logo_horizontal_White.pdf"/>
          <p:cNvPicPr>
            <a:picLocks noChangeAspect="1"/>
          </p:cNvPicPr>
          <p:nvPr userDrawn="1"/>
        </p:nvPicPr>
        <p:blipFill>
          <a:blip r:embed="rId13"/>
          <a:srcRect l="25760" t="42699" r="25294" b="46190"/>
          <a:stretch>
            <a:fillRect/>
          </a:stretch>
        </p:blipFill>
        <p:spPr bwMode="auto">
          <a:xfrm>
            <a:off x="82550" y="6486525"/>
            <a:ext cx="19177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12" r:id="rId5"/>
    <p:sldLayoutId id="2147483713" r:id="rId6"/>
    <p:sldLayoutId id="2147483714" r:id="rId7"/>
  </p:sldLayoutIdLst>
  <p:hf sldNum="0" hdr="0" ftr="0" dt="0"/>
  <p:txStyles>
    <p:titleStyle>
      <a:lvl1pPr algn="l" defTabSz="457189" rtl="0" fontAlgn="base">
        <a:spcBef>
          <a:spcPct val="0"/>
        </a:spcBef>
        <a:spcAft>
          <a:spcPct val="0"/>
        </a:spcAft>
        <a:defRPr sz="3000" kern="1200">
          <a:solidFill>
            <a:schemeClr val="tx1"/>
          </a:solidFill>
          <a:latin typeface="Georgia"/>
          <a:ea typeface="ＭＳ Ｐゴシック" pitchFamily="-108" charset="-128"/>
          <a:cs typeface="Georgia"/>
        </a:defRPr>
      </a:lvl1pPr>
      <a:lvl2pPr algn="l" defTabSz="457189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2pPr>
      <a:lvl3pPr algn="l" defTabSz="457189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3pPr>
      <a:lvl4pPr algn="l" defTabSz="457189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4pPr>
      <a:lvl5pPr algn="l" defTabSz="457189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5pPr>
      <a:lvl6pPr marL="457189" algn="l" defTabSz="457189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6pPr>
      <a:lvl7pPr marL="914377" algn="l" defTabSz="457189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7pPr>
      <a:lvl8pPr marL="1371566" algn="l" defTabSz="457189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8pPr>
      <a:lvl9pPr marL="1828754" algn="l" defTabSz="457189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eorgia" pitchFamily="-108" charset="0"/>
          <a:ea typeface="ＭＳ Ｐゴシック" pitchFamily="-108" charset="-128"/>
        </a:defRPr>
      </a:lvl9pPr>
    </p:titleStyle>
    <p:bodyStyle>
      <a:lvl1pPr marL="200020" indent="-188909" algn="l" defTabSz="457189" rtl="0" fontAlgn="base">
        <a:spcBef>
          <a:spcPct val="20000"/>
        </a:spcBef>
        <a:spcAft>
          <a:spcPct val="0"/>
        </a:spcAft>
        <a:buFont typeface="Arial" charset="0"/>
        <a:buChar char="•"/>
        <a:tabLst/>
        <a:defRPr sz="2500"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1pPr>
      <a:lvl2pPr marL="547674" indent="-236533" algn="l" defTabSz="457189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2pPr>
      <a:lvl3pPr marL="914377" indent="-236533" algn="l" defTabSz="457189" rtl="0" fontAlgn="base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3pPr>
      <a:lvl4pPr marL="1187421" indent="-236533" algn="l" defTabSz="457189" rtl="0" fontAlgn="base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4pPr>
      <a:lvl5pPr marL="1462051" indent="-236533" algn="l" defTabSz="457189" rtl="0" fontAlgn="base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rgbClr val="555555"/>
          </a:solidFill>
          <a:latin typeface="Arial"/>
          <a:ea typeface="ＭＳ Ｐゴシック" pitchFamily="-108" charset="-128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12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.png"/><Relationship Id="rId11" Type="http://schemas.openxmlformats.org/officeDocument/2006/relationships/image" Target="../media/image12.jpeg"/><Relationship Id="rId5" Type="http://schemas.openxmlformats.org/officeDocument/2006/relationships/image" Target="../media/image6.png"/><Relationship Id="rId10" Type="http://schemas.openxmlformats.org/officeDocument/2006/relationships/image" Target="../media/image11.jpe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2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9.jp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2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6.jpeg"/><Relationship Id="rId5" Type="http://schemas.openxmlformats.org/officeDocument/2006/relationships/image" Target="../media/image25.png"/><Relationship Id="rId4" Type="http://schemas.openxmlformats.org/officeDocument/2006/relationships/image" Target="../media/image2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09600" y="1957626"/>
            <a:ext cx="11277600" cy="1025921"/>
          </a:xfrm>
        </p:spPr>
        <p:txBody>
          <a:bodyPr/>
          <a:lstStyle/>
          <a:p>
            <a:r>
              <a:rPr lang="en-US" sz="3733" dirty="0"/>
              <a:t>The Journey of Serialization and Traceability</a:t>
            </a:r>
            <a:br>
              <a:rPr lang="en-US" sz="3733" dirty="0"/>
            </a:br>
            <a:r>
              <a:rPr lang="en-US" sz="2933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zil Market Deployment</a:t>
            </a:r>
            <a:endParaRPr lang="nl-NL" sz="2933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19200" y="3022600"/>
            <a:ext cx="8534400" cy="2590800"/>
          </a:xfrm>
        </p:spPr>
        <p:txBody>
          <a:bodyPr/>
          <a:lstStyle/>
          <a:p>
            <a:pPr algn="l">
              <a:spcBef>
                <a:spcPts val="0"/>
              </a:spcBef>
              <a:spcAft>
                <a:spcPts val="800"/>
              </a:spcAft>
            </a:pPr>
            <a:endParaRPr lang="fr-BE" sz="266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spcBef>
                <a:spcPts val="0"/>
              </a:spcBef>
              <a:spcAft>
                <a:spcPts val="800"/>
              </a:spcAft>
            </a:pPr>
            <a:r>
              <a:rPr lang="fr-BE" sz="2667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ndro Oliveira</a:t>
            </a:r>
          </a:p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213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hnson &amp; Johnson Supply Chain</a:t>
            </a:r>
            <a:endParaRPr lang="fr-BE" sz="2133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BE" sz="213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r. Manager, Supply Chain Visibility</a:t>
            </a:r>
          </a:p>
        </p:txBody>
      </p:sp>
      <p:pic>
        <p:nvPicPr>
          <p:cNvPr id="6154" name="Picture 10" descr="Scientist Oncology Computer Model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83" r="6123"/>
          <a:stretch/>
        </p:blipFill>
        <p:spPr bwMode="auto">
          <a:xfrm>
            <a:off x="7197541" y="1"/>
            <a:ext cx="2531833" cy="145240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5" name="Picture 11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07" r="12116"/>
          <a:stretch/>
        </p:blipFill>
        <p:spPr bwMode="auto">
          <a:xfrm>
            <a:off x="2320742" y="13650"/>
            <a:ext cx="2449903" cy="1461029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5"/>
          <a:stretch/>
        </p:blipFill>
        <p:spPr bwMode="auto">
          <a:xfrm>
            <a:off x="0" y="5103335"/>
            <a:ext cx="2472749" cy="1471264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41" t="6508" r="11080" b="19948"/>
          <a:stretch/>
        </p:blipFill>
        <p:spPr bwMode="auto">
          <a:xfrm>
            <a:off x="2" y="23483"/>
            <a:ext cx="2430473" cy="1452408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76"/>
          <a:stretch/>
        </p:blipFill>
        <p:spPr bwMode="auto">
          <a:xfrm>
            <a:off x="9756288" y="5107717"/>
            <a:ext cx="2435712" cy="1470503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149" name="Picture 5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66" r="9099"/>
          <a:stretch/>
        </p:blipFill>
        <p:spPr bwMode="auto">
          <a:xfrm>
            <a:off x="5003165" y="5107717"/>
            <a:ext cx="2398633" cy="1470884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" name="Picture 6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134"/>
          <a:stretch/>
        </p:blipFill>
        <p:spPr bwMode="auto">
          <a:xfrm>
            <a:off x="7401797" y="5107337"/>
            <a:ext cx="2389184" cy="1470884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" name="Picture 8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353"/>
          <a:stretch/>
        </p:blipFill>
        <p:spPr bwMode="auto">
          <a:xfrm>
            <a:off x="9742845" y="0"/>
            <a:ext cx="2435712" cy="1452408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4" name="Picture 6" descr="https://jnj.brightspotcdn.com/dims4/default/863a889/2147483647/crop/798x453%2B201%2B0/resize/439x249/quality/90/?url=http%3A%2F%2Fjnj-brightspot.s3.amazonaws.com%2F23%2F8f%2F2f0e9c0f45a2947e1a9efebc85d1%2Fhealthy-solutions.jpeg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01" r="4950"/>
          <a:stretch/>
        </p:blipFill>
        <p:spPr bwMode="auto">
          <a:xfrm>
            <a:off x="4770644" y="14011"/>
            <a:ext cx="2426897" cy="145204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03" r="3747"/>
          <a:stretch/>
        </p:blipFill>
        <p:spPr bwMode="auto">
          <a:xfrm>
            <a:off x="2472749" y="5107337"/>
            <a:ext cx="2608704" cy="147050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086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Conteúdo 2"/>
          <p:cNvSpPr>
            <a:spLocks noGrp="1"/>
          </p:cNvSpPr>
          <p:nvPr>
            <p:ph sz="half" idx="2"/>
          </p:nvPr>
        </p:nvSpPr>
        <p:spPr>
          <a:xfrm>
            <a:off x="609600" y="1752600"/>
            <a:ext cx="5303520" cy="1864192"/>
          </a:xfrm>
        </p:spPr>
        <p:txBody>
          <a:bodyPr/>
          <a:lstStyle/>
          <a:p>
            <a:pPr algn="just"/>
            <a:r>
              <a:rPr lang="pt-BR" sz="2200" dirty="0"/>
              <a:t>The RDC 157/2017 states that the GS1 DataMatrix bar code symbol should encode the following data that makes up the IUM (Unique Medicine Identification), in the following order:</a:t>
            </a:r>
          </a:p>
        </p:txBody>
      </p:sp>
      <p:sp>
        <p:nvSpPr>
          <p:cNvPr id="6" name="Espaço Reservado para Conteúdo 2"/>
          <p:cNvSpPr>
            <a:spLocks noGrp="1"/>
          </p:cNvSpPr>
          <p:nvPr>
            <p:ph sz="half" idx="2"/>
          </p:nvPr>
        </p:nvSpPr>
        <p:spPr>
          <a:xfrm>
            <a:off x="609600" y="3869829"/>
            <a:ext cx="5303520" cy="1692771"/>
          </a:xfrm>
        </p:spPr>
        <p:txBody>
          <a:bodyPr/>
          <a:lstStyle/>
          <a:p>
            <a:pPr marL="514350" indent="-514350">
              <a:buFont typeface="+mj-lt"/>
              <a:buAutoNum type="romanUcPeriod"/>
            </a:pPr>
            <a:r>
              <a:rPr lang="pt-BR" sz="2000" b="1" dirty="0"/>
              <a:t>GTIN – Global Trade Item Number</a:t>
            </a:r>
          </a:p>
          <a:p>
            <a:pPr marL="514350" indent="-514350">
              <a:buFont typeface="+mj-lt"/>
              <a:buAutoNum type="romanUcPeriod"/>
            </a:pPr>
            <a:r>
              <a:rPr lang="pt-BR" sz="2000" b="1" dirty="0"/>
              <a:t>ANVISA Registration Number</a:t>
            </a:r>
          </a:p>
          <a:p>
            <a:pPr marL="514350" indent="-514350">
              <a:buFont typeface="+mj-lt"/>
              <a:buAutoNum type="romanUcPeriod"/>
            </a:pPr>
            <a:r>
              <a:rPr lang="pt-BR" sz="2000" b="1" dirty="0"/>
              <a:t>Serial Number</a:t>
            </a:r>
          </a:p>
          <a:p>
            <a:pPr marL="514350" indent="-514350">
              <a:buFont typeface="+mj-lt"/>
              <a:buAutoNum type="romanUcPeriod"/>
            </a:pPr>
            <a:r>
              <a:rPr lang="pt-BR" sz="2000" b="1" dirty="0"/>
              <a:t>Expiration Date</a:t>
            </a:r>
          </a:p>
          <a:p>
            <a:pPr marL="514350" indent="-514350">
              <a:buFont typeface="+mj-lt"/>
              <a:buAutoNum type="romanUcPeriod"/>
            </a:pPr>
            <a:r>
              <a:rPr lang="pt-BR" sz="2000" b="1" dirty="0"/>
              <a:t>Lot / Batch Number</a:t>
            </a: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8400" y="1940392"/>
            <a:ext cx="5630534" cy="24765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DD55223E-0229-4DE5-997B-A5F880B09A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026" y="283376"/>
            <a:ext cx="10620375" cy="615553"/>
          </a:xfrm>
        </p:spPr>
        <p:txBody>
          <a:bodyPr/>
          <a:lstStyle/>
          <a:p>
            <a:r>
              <a:rPr lang="en-US" dirty="0"/>
              <a:t>License Plate – Secondary Packaging</a:t>
            </a:r>
            <a:endParaRPr lang="en-US" sz="2667" dirty="0">
              <a:solidFill>
                <a:schemeClr val="bg1">
                  <a:lumMod val="50000"/>
                </a:schemeClr>
              </a:solidFill>
              <a:latin typeface="+mn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96557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57BBBFEE-B439-4F1E-AF6A-251737451A59}"/>
              </a:ext>
            </a:extLst>
          </p:cNvPr>
          <p:cNvSpPr txBox="1">
            <a:spLocks/>
          </p:cNvSpPr>
          <p:nvPr/>
        </p:nvSpPr>
        <p:spPr>
          <a:xfrm>
            <a:off x="9245600" y="6518275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12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18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30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638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547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455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366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275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310939B-5458-484E-97A2-E8100EE90BF7}" type="slidenum">
              <a:rPr lang="nl-NL" sz="1200">
                <a:solidFill>
                  <a:schemeClr val="bg1"/>
                </a:solidFill>
              </a:rPr>
              <a:pPr algn="r"/>
              <a:t>11</a:t>
            </a:fld>
            <a:endParaRPr lang="nl-NL" sz="1200">
              <a:solidFill>
                <a:schemeClr val="bg1"/>
              </a:solidFill>
            </a:endParaRPr>
          </a:p>
        </p:txBody>
      </p:sp>
      <p:pic>
        <p:nvPicPr>
          <p:cNvPr id="1026" name="Picture 2" descr="Resultado de imagem para requirements">
            <a:extLst>
              <a:ext uri="{FF2B5EF4-FFF2-40B4-BE49-F238E27FC236}">
                <a16:creationId xmlns:a16="http://schemas.microsoft.com/office/drawing/2014/main" id="{2BDB94FB-D27A-43D0-8577-8C0B3492B8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001" y="5215461"/>
            <a:ext cx="2031999" cy="1302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0F3DBA4A-1162-49BB-BABB-4580048CB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026" y="283375"/>
            <a:ext cx="8235951" cy="1107996"/>
          </a:xfrm>
        </p:spPr>
        <p:txBody>
          <a:bodyPr/>
          <a:lstStyle/>
          <a:p>
            <a:r>
              <a:rPr lang="en-US" dirty="0"/>
              <a:t>Brazilian Serialization and T&amp;T</a:t>
            </a:r>
            <a:br>
              <a:rPr lang="en-US" dirty="0"/>
            </a:br>
            <a:r>
              <a:rPr lang="en-US" sz="3200" i="1" dirty="0">
                <a:solidFill>
                  <a:schemeClr val="tx1">
                    <a:lumMod val="60000"/>
                    <a:lumOff val="40000"/>
                  </a:schemeClr>
                </a:solidFill>
                <a:latin typeface="Georgia" panose="02040502050405020303" pitchFamily="18" charset="0"/>
              </a:rPr>
              <a:t>High-Level Overview/Requirements</a:t>
            </a:r>
            <a:endParaRPr lang="en-US" sz="3200" i="1" dirty="0">
              <a:solidFill>
                <a:schemeClr val="tx1">
                  <a:lumMod val="60000"/>
                  <a:lumOff val="40000"/>
                </a:schemeClr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CAA74349-5C1E-4F59-A2D1-4229E08241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56026"/>
            <a:ext cx="11480801" cy="4087573"/>
          </a:xfrm>
        </p:spPr>
        <p:txBody>
          <a:bodyPr/>
          <a:lstStyle/>
          <a:p>
            <a:pPr>
              <a:spcBef>
                <a:spcPts val="1800"/>
              </a:spcBef>
              <a:spcAft>
                <a:spcPts val="600"/>
              </a:spcAft>
            </a:pPr>
            <a:r>
              <a:rPr lang="pt-BR" sz="2267" dirty="0">
                <a:latin typeface="Arial (body)"/>
              </a:rPr>
              <a:t>GS1 standard </a:t>
            </a:r>
            <a:r>
              <a:rPr lang="pt-BR" sz="2267" dirty="0" err="1">
                <a:latin typeface="Arial (body)"/>
              </a:rPr>
              <a:t>license</a:t>
            </a:r>
            <a:r>
              <a:rPr lang="pt-BR" sz="2267" dirty="0">
                <a:latin typeface="Arial (body)"/>
              </a:rPr>
              <a:t> </a:t>
            </a:r>
            <a:r>
              <a:rPr lang="pt-BR" sz="2267" dirty="0" err="1">
                <a:latin typeface="Arial (body)"/>
              </a:rPr>
              <a:t>plate</a:t>
            </a:r>
            <a:r>
              <a:rPr lang="pt-BR" sz="2267" dirty="0">
                <a:latin typeface="Arial (body)"/>
              </a:rPr>
              <a:t> + Anvisa </a:t>
            </a:r>
            <a:r>
              <a:rPr lang="pt-BR" sz="2267" dirty="0" err="1">
                <a:latin typeface="Arial (body)"/>
              </a:rPr>
              <a:t>registration</a:t>
            </a:r>
            <a:r>
              <a:rPr lang="pt-BR" sz="2267" dirty="0">
                <a:latin typeface="Arial (body)"/>
              </a:rPr>
              <a:t> </a:t>
            </a:r>
            <a:r>
              <a:rPr lang="pt-BR" sz="2267" dirty="0" err="1">
                <a:latin typeface="Arial (body)"/>
              </a:rPr>
              <a:t>number</a:t>
            </a:r>
            <a:r>
              <a:rPr lang="pt-BR" sz="2267" dirty="0">
                <a:latin typeface="Arial (body)"/>
              </a:rPr>
              <a:t> (AI 713)</a:t>
            </a:r>
          </a:p>
          <a:p>
            <a:pPr>
              <a:spcBef>
                <a:spcPts val="1800"/>
              </a:spcBef>
              <a:spcAft>
                <a:spcPts val="600"/>
              </a:spcAft>
            </a:pPr>
            <a:r>
              <a:rPr lang="pt-BR" sz="2267" dirty="0" err="1">
                <a:latin typeface="Arial (body)"/>
              </a:rPr>
              <a:t>Full</a:t>
            </a:r>
            <a:r>
              <a:rPr lang="pt-BR" sz="2267" dirty="0">
                <a:latin typeface="Arial (body)"/>
              </a:rPr>
              <a:t> T&amp;T, </a:t>
            </a:r>
            <a:r>
              <a:rPr lang="pt-BR" sz="2267" dirty="0" err="1">
                <a:latin typeface="Arial (body)"/>
              </a:rPr>
              <a:t>not</a:t>
            </a:r>
            <a:r>
              <a:rPr lang="pt-BR" sz="2267" dirty="0">
                <a:latin typeface="Arial (body)"/>
              </a:rPr>
              <a:t> </a:t>
            </a:r>
            <a:r>
              <a:rPr lang="pt-BR" sz="2267" dirty="0" err="1">
                <a:latin typeface="Arial (body)"/>
              </a:rPr>
              <a:t>mandatory</a:t>
            </a:r>
            <a:r>
              <a:rPr lang="pt-BR" sz="2267" dirty="0">
                <a:latin typeface="Arial (body)"/>
              </a:rPr>
              <a:t> </a:t>
            </a:r>
            <a:r>
              <a:rPr lang="pt-BR" sz="2267" dirty="0" err="1">
                <a:latin typeface="Arial (body)"/>
              </a:rPr>
              <a:t>pre-importation</a:t>
            </a:r>
            <a:r>
              <a:rPr lang="pt-BR" sz="2267" dirty="0">
                <a:latin typeface="Arial (body)"/>
              </a:rPr>
              <a:t> </a:t>
            </a:r>
            <a:r>
              <a:rPr lang="pt-BR" sz="2267" dirty="0" err="1">
                <a:latin typeface="Arial (body)"/>
              </a:rPr>
              <a:t>movements</a:t>
            </a:r>
            <a:endParaRPr lang="pt-BR" sz="2267" dirty="0">
              <a:latin typeface="Arial (body)"/>
            </a:endParaRPr>
          </a:p>
          <a:p>
            <a:pPr>
              <a:spcBef>
                <a:spcPts val="1800"/>
              </a:spcBef>
              <a:spcAft>
                <a:spcPts val="600"/>
              </a:spcAft>
            </a:pPr>
            <a:r>
              <a:rPr lang="pt-BR" sz="2267" dirty="0" err="1">
                <a:latin typeface="Arial (body)"/>
              </a:rPr>
              <a:t>Bonded</a:t>
            </a:r>
            <a:r>
              <a:rPr lang="pt-BR" sz="2267" dirty="0">
                <a:latin typeface="Arial (body)"/>
              </a:rPr>
              <a:t> </a:t>
            </a:r>
            <a:r>
              <a:rPr lang="pt-BR" sz="2267" dirty="0" err="1">
                <a:latin typeface="Arial (body)"/>
              </a:rPr>
              <a:t>warehouse</a:t>
            </a:r>
            <a:r>
              <a:rPr lang="pt-BR" sz="2267" dirty="0">
                <a:latin typeface="Arial (body)"/>
              </a:rPr>
              <a:t>, </a:t>
            </a:r>
            <a:r>
              <a:rPr lang="pt-BR" sz="2267" dirty="0" err="1">
                <a:latin typeface="Arial (body)"/>
              </a:rPr>
              <a:t>custom</a:t>
            </a:r>
            <a:r>
              <a:rPr lang="pt-BR" sz="2267" dirty="0">
                <a:latin typeface="Arial (body)"/>
              </a:rPr>
              <a:t> processes </a:t>
            </a:r>
            <a:r>
              <a:rPr lang="pt-BR" sz="2267" dirty="0" err="1">
                <a:latin typeface="Arial (body)"/>
              </a:rPr>
              <a:t>and</a:t>
            </a:r>
            <a:r>
              <a:rPr lang="pt-BR" sz="2267" dirty="0">
                <a:latin typeface="Arial (body)"/>
              </a:rPr>
              <a:t> </a:t>
            </a:r>
            <a:r>
              <a:rPr lang="pt-BR" sz="2267" dirty="0" err="1">
                <a:latin typeface="Arial (body)"/>
              </a:rPr>
              <a:t>freight</a:t>
            </a:r>
            <a:r>
              <a:rPr lang="pt-BR" sz="2267" dirty="0">
                <a:latin typeface="Arial (body)"/>
              </a:rPr>
              <a:t> </a:t>
            </a:r>
            <a:r>
              <a:rPr lang="pt-BR" sz="2267" dirty="0" err="1">
                <a:latin typeface="Arial (body)"/>
              </a:rPr>
              <a:t>companies</a:t>
            </a:r>
            <a:r>
              <a:rPr lang="pt-BR" sz="2267" dirty="0">
                <a:latin typeface="Arial (body)"/>
              </a:rPr>
              <a:t> out </a:t>
            </a:r>
            <a:r>
              <a:rPr lang="pt-BR" sz="2267" dirty="0" err="1">
                <a:latin typeface="Arial (body)"/>
              </a:rPr>
              <a:t>of</a:t>
            </a:r>
            <a:r>
              <a:rPr lang="pt-BR" sz="2267" dirty="0">
                <a:latin typeface="Arial (body)"/>
              </a:rPr>
              <a:t> </a:t>
            </a:r>
            <a:r>
              <a:rPr lang="pt-BR" sz="2267" dirty="0" err="1">
                <a:latin typeface="Arial (body)"/>
              </a:rPr>
              <a:t>scope</a:t>
            </a:r>
            <a:r>
              <a:rPr lang="pt-BR" sz="2267" dirty="0">
                <a:latin typeface="Arial (body)"/>
              </a:rPr>
              <a:t> </a:t>
            </a:r>
          </a:p>
          <a:p>
            <a:pPr>
              <a:spcBef>
                <a:spcPts val="1800"/>
              </a:spcBef>
              <a:spcAft>
                <a:spcPts val="600"/>
              </a:spcAft>
            </a:pPr>
            <a:r>
              <a:rPr lang="pt-BR" sz="2267" dirty="0" err="1">
                <a:latin typeface="Arial (body)"/>
              </a:rPr>
              <a:t>Centralized</a:t>
            </a:r>
            <a:r>
              <a:rPr lang="pt-BR" sz="2267" dirty="0">
                <a:latin typeface="Arial (body)"/>
              </a:rPr>
              <a:t> T&amp;T data </a:t>
            </a:r>
            <a:r>
              <a:rPr lang="pt-BR" sz="2267" dirty="0" err="1">
                <a:latin typeface="Arial (body)"/>
              </a:rPr>
              <a:t>repository</a:t>
            </a:r>
            <a:r>
              <a:rPr lang="pt-BR" sz="2267" dirty="0">
                <a:latin typeface="Arial (body)"/>
              </a:rPr>
              <a:t> – </a:t>
            </a:r>
            <a:r>
              <a:rPr lang="pt-BR" sz="2267" i="1" dirty="0">
                <a:latin typeface="Arial (body)"/>
              </a:rPr>
              <a:t>Sistema Nacional de Controle de Medicamentos </a:t>
            </a:r>
            <a:r>
              <a:rPr lang="pt-BR" sz="2267" b="1" dirty="0">
                <a:latin typeface="Arial (body)"/>
              </a:rPr>
              <a:t>(SNCM)</a:t>
            </a:r>
          </a:p>
          <a:p>
            <a:pPr>
              <a:spcBef>
                <a:spcPts val="1800"/>
              </a:spcBef>
              <a:spcAft>
                <a:spcPts val="0"/>
              </a:spcAft>
            </a:pPr>
            <a:r>
              <a:rPr lang="pt-BR" sz="2267" dirty="0" err="1">
                <a:latin typeface="Arial (body)"/>
              </a:rPr>
              <a:t>Supply</a:t>
            </a:r>
            <a:r>
              <a:rPr lang="pt-BR" sz="2267" dirty="0">
                <a:latin typeface="Arial (body)"/>
              </a:rPr>
              <a:t> </a:t>
            </a:r>
            <a:r>
              <a:rPr lang="pt-BR" sz="2267" dirty="0" err="1">
                <a:latin typeface="Arial (body)"/>
              </a:rPr>
              <a:t>chain</a:t>
            </a:r>
            <a:r>
              <a:rPr lang="pt-BR" sz="2267" dirty="0">
                <a:latin typeface="Arial (body)"/>
              </a:rPr>
              <a:t> players </a:t>
            </a:r>
            <a:r>
              <a:rPr lang="pt-BR" sz="2267" dirty="0" err="1">
                <a:latin typeface="Arial (body)"/>
              </a:rPr>
              <a:t>to</a:t>
            </a:r>
            <a:r>
              <a:rPr lang="pt-BR" sz="2267" dirty="0">
                <a:latin typeface="Arial (body)"/>
              </a:rPr>
              <a:t> define </a:t>
            </a:r>
            <a:r>
              <a:rPr lang="pt-BR" sz="2267" dirty="0" err="1">
                <a:latin typeface="Arial (body)"/>
              </a:rPr>
              <a:t>how</a:t>
            </a:r>
            <a:r>
              <a:rPr lang="pt-BR" sz="2267" dirty="0">
                <a:latin typeface="Arial (body)"/>
              </a:rPr>
              <a:t> </a:t>
            </a:r>
            <a:r>
              <a:rPr lang="pt-BR" sz="2267" dirty="0" err="1">
                <a:latin typeface="Arial (body)"/>
              </a:rPr>
              <a:t>the</a:t>
            </a:r>
            <a:r>
              <a:rPr lang="pt-BR" sz="2267" dirty="0">
                <a:latin typeface="Arial (body)"/>
              </a:rPr>
              <a:t> horizontal 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pt-BR" sz="2267" dirty="0">
                <a:latin typeface="Arial (body)"/>
              </a:rPr>
              <a:t>  communication will function</a:t>
            </a:r>
            <a:endParaRPr lang="en-US" sz="2267" dirty="0">
              <a:solidFill>
                <a:srgbClr val="FF0000"/>
              </a:solidFill>
              <a:latin typeface="Arial (body)"/>
            </a:endParaRPr>
          </a:p>
          <a:p>
            <a:endParaRPr lang="en-US" sz="2667" dirty="0">
              <a:latin typeface="Arial (body)"/>
              <a:cs typeface="Calibri" panose="020F0502020204030204" pitchFamily="34" charset="0"/>
            </a:endParaRPr>
          </a:p>
        </p:txBody>
      </p:sp>
      <p:pic>
        <p:nvPicPr>
          <p:cNvPr id="8" name="Picture 2" descr="Resultado de imagem para brazil map">
            <a:extLst>
              <a:ext uri="{FF2B5EF4-FFF2-40B4-BE49-F238E27FC236}">
                <a16:creationId xmlns:a16="http://schemas.microsoft.com/office/drawing/2014/main" id="{90958DF5-2AA8-479D-B2D0-AEB04F8A62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774" y="142101"/>
            <a:ext cx="1552025" cy="1545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9577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57BBBFEE-B439-4F1E-AF6A-251737451A59}"/>
              </a:ext>
            </a:extLst>
          </p:cNvPr>
          <p:cNvSpPr txBox="1">
            <a:spLocks/>
          </p:cNvSpPr>
          <p:nvPr/>
        </p:nvSpPr>
        <p:spPr>
          <a:xfrm>
            <a:off x="9245600" y="6518275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12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18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30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638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547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455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366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275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310939B-5458-484E-97A2-E8100EE90BF7}" type="slidenum">
              <a:rPr lang="nl-NL" sz="1200">
                <a:solidFill>
                  <a:schemeClr val="bg1"/>
                </a:solidFill>
              </a:rPr>
              <a:pPr algn="r"/>
              <a:t>12</a:t>
            </a:fld>
            <a:endParaRPr lang="nl-NL" sz="1200">
              <a:solidFill>
                <a:schemeClr val="bg1"/>
              </a:solidFill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F3DBA4A-1162-49BB-BABB-4580048CB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026" y="283375"/>
            <a:ext cx="8235951" cy="1107996"/>
          </a:xfrm>
        </p:spPr>
        <p:txBody>
          <a:bodyPr/>
          <a:lstStyle/>
          <a:p>
            <a:r>
              <a:rPr lang="en-US" dirty="0"/>
              <a:t>Brazilian Serialization and T&amp;T</a:t>
            </a:r>
            <a:br>
              <a:rPr lang="en-US" dirty="0"/>
            </a:br>
            <a:r>
              <a:rPr lang="en-US" sz="3200" i="1" dirty="0">
                <a:solidFill>
                  <a:schemeClr val="tx1">
                    <a:lumMod val="60000"/>
                    <a:lumOff val="40000"/>
                  </a:schemeClr>
                </a:solidFill>
                <a:latin typeface="Georgia" panose="02040502050405020303" pitchFamily="18" charset="0"/>
              </a:rPr>
              <a:t>Scope &amp; What Has Been Done</a:t>
            </a:r>
            <a:endParaRPr lang="en-US" sz="3200" i="1" dirty="0">
              <a:solidFill>
                <a:schemeClr val="tx1">
                  <a:lumMod val="60000"/>
                  <a:lumOff val="40000"/>
                </a:schemeClr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CAA74349-5C1E-4F59-A2D1-4229E08241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701800"/>
            <a:ext cx="11480801" cy="3149600"/>
          </a:xfrm>
        </p:spPr>
        <p:txBody>
          <a:bodyPr/>
          <a:lstStyle/>
          <a:p>
            <a:pPr>
              <a:spcAft>
                <a:spcPts val="800"/>
              </a:spcAft>
            </a:pPr>
            <a:r>
              <a:rPr lang="pt-BR" sz="2133" dirty="0">
                <a:latin typeface="Arial (body)"/>
              </a:rPr>
              <a:t>14+ </a:t>
            </a:r>
            <a:r>
              <a:rPr lang="pt-BR" sz="2133" dirty="0" err="1">
                <a:latin typeface="Arial (body)"/>
              </a:rPr>
              <a:t>participants</a:t>
            </a:r>
            <a:r>
              <a:rPr lang="pt-BR" sz="2133" dirty="0">
                <a:latin typeface="Arial (body)"/>
              </a:rPr>
              <a:t> (5 </a:t>
            </a:r>
            <a:r>
              <a:rPr lang="pt-BR" sz="2133" dirty="0" err="1">
                <a:latin typeface="Arial (body)"/>
              </a:rPr>
              <a:t>manufacturers</a:t>
            </a:r>
            <a:r>
              <a:rPr lang="pt-BR" sz="2133" dirty="0">
                <a:latin typeface="Arial (body)"/>
              </a:rPr>
              <a:t>, 2 </a:t>
            </a:r>
            <a:r>
              <a:rPr lang="pt-BR" sz="2133" dirty="0" err="1">
                <a:latin typeface="Arial (body)"/>
              </a:rPr>
              <a:t>distributors</a:t>
            </a:r>
            <a:r>
              <a:rPr lang="pt-BR" sz="2133" dirty="0">
                <a:latin typeface="Arial (body)"/>
              </a:rPr>
              <a:t>, 2 </a:t>
            </a:r>
            <a:r>
              <a:rPr lang="pt-BR" sz="2133" dirty="0" err="1">
                <a:latin typeface="Arial (body)"/>
              </a:rPr>
              <a:t>hospitals</a:t>
            </a:r>
            <a:r>
              <a:rPr lang="pt-BR" sz="2133" dirty="0">
                <a:latin typeface="Arial (body)"/>
              </a:rPr>
              <a:t>, 5 </a:t>
            </a:r>
            <a:r>
              <a:rPr lang="pt-BR" sz="2133" dirty="0" err="1">
                <a:latin typeface="Arial (body)"/>
              </a:rPr>
              <a:t>pharmacies</a:t>
            </a:r>
            <a:r>
              <a:rPr lang="pt-BR" sz="2133" dirty="0">
                <a:latin typeface="Arial (body)"/>
              </a:rPr>
              <a:t> </a:t>
            </a:r>
            <a:r>
              <a:rPr lang="pt-BR" sz="2133" dirty="0" err="1">
                <a:latin typeface="Arial (body)"/>
              </a:rPr>
              <a:t>and</a:t>
            </a:r>
            <a:endParaRPr lang="pt-BR" sz="2133" dirty="0">
              <a:latin typeface="Arial (body)"/>
            </a:endParaRPr>
          </a:p>
          <a:p>
            <a:pPr marL="0" indent="0">
              <a:spcBef>
                <a:spcPts val="0"/>
              </a:spcBef>
              <a:spcAft>
                <a:spcPts val="800"/>
              </a:spcAft>
              <a:buNone/>
            </a:pPr>
            <a:r>
              <a:rPr lang="pt-BR" sz="2133" dirty="0">
                <a:latin typeface="Arial (body)"/>
              </a:rPr>
              <a:t>   public entities TBD)</a:t>
            </a:r>
            <a:endParaRPr lang="pt-BR" sz="2133" dirty="0">
              <a:solidFill>
                <a:srgbClr val="FF0000"/>
              </a:solidFill>
              <a:latin typeface="Arial (body)"/>
            </a:endParaRPr>
          </a:p>
          <a:p>
            <a:pPr>
              <a:spcBef>
                <a:spcPts val="2000"/>
              </a:spcBef>
              <a:spcAft>
                <a:spcPts val="800"/>
              </a:spcAft>
            </a:pPr>
            <a:r>
              <a:rPr lang="pt-BR" sz="2133" dirty="0">
                <a:latin typeface="Arial (body)"/>
              </a:rPr>
              <a:t>Overall regulatory milestones were defined by Anvisa</a:t>
            </a:r>
          </a:p>
          <a:p>
            <a:pPr>
              <a:spcBef>
                <a:spcPts val="2000"/>
              </a:spcBef>
              <a:spcAft>
                <a:spcPts val="800"/>
              </a:spcAft>
            </a:pPr>
            <a:r>
              <a:rPr lang="pt-BR" sz="2133" dirty="0" err="1">
                <a:latin typeface="Arial (body)"/>
              </a:rPr>
              <a:t>All</a:t>
            </a:r>
            <a:r>
              <a:rPr lang="pt-BR" sz="2133" dirty="0">
                <a:latin typeface="Arial (body)"/>
              </a:rPr>
              <a:t> </a:t>
            </a:r>
            <a:r>
              <a:rPr lang="pt-BR" sz="2133" dirty="0" err="1">
                <a:latin typeface="Arial (body)"/>
              </a:rPr>
              <a:t>manufacturers</a:t>
            </a:r>
            <a:r>
              <a:rPr lang="pt-BR" sz="2133" dirty="0">
                <a:latin typeface="Arial (body)"/>
              </a:rPr>
              <a:t> </a:t>
            </a:r>
            <a:r>
              <a:rPr lang="pt-BR" sz="2133" dirty="0" err="1">
                <a:latin typeface="Arial (body)"/>
              </a:rPr>
              <a:t>with</a:t>
            </a:r>
            <a:r>
              <a:rPr lang="pt-BR" sz="2133" dirty="0">
                <a:latin typeface="Arial (body)"/>
              </a:rPr>
              <a:t> </a:t>
            </a:r>
            <a:r>
              <a:rPr lang="pt-BR" sz="2133" dirty="0" err="1">
                <a:latin typeface="Arial (body)"/>
              </a:rPr>
              <a:t>at</a:t>
            </a:r>
            <a:r>
              <a:rPr lang="pt-BR" sz="2133" dirty="0">
                <a:latin typeface="Arial (body)"/>
              </a:rPr>
              <a:t> </a:t>
            </a:r>
            <a:r>
              <a:rPr lang="pt-BR" sz="2133" dirty="0" err="1">
                <a:latin typeface="Arial (body)"/>
              </a:rPr>
              <a:t>least</a:t>
            </a:r>
            <a:r>
              <a:rPr lang="pt-BR" sz="2133" dirty="0">
                <a:latin typeface="Arial (body)"/>
              </a:rPr>
              <a:t> a </a:t>
            </a:r>
            <a:r>
              <a:rPr lang="pt-BR" sz="2133" dirty="0" err="1">
                <a:latin typeface="Arial (body)"/>
              </a:rPr>
              <a:t>couple</a:t>
            </a:r>
            <a:r>
              <a:rPr lang="pt-BR" sz="2133" dirty="0">
                <a:latin typeface="Arial (body)"/>
              </a:rPr>
              <a:t> </a:t>
            </a:r>
            <a:r>
              <a:rPr lang="pt-BR" sz="2133" dirty="0" err="1">
                <a:latin typeface="Arial (body)"/>
              </a:rPr>
              <a:t>of</a:t>
            </a:r>
            <a:r>
              <a:rPr lang="pt-BR" sz="2133" dirty="0">
                <a:latin typeface="Arial (body)"/>
              </a:rPr>
              <a:t> </a:t>
            </a:r>
            <a:r>
              <a:rPr lang="pt-BR" sz="2133" dirty="0" err="1">
                <a:latin typeface="Arial (body)"/>
              </a:rPr>
              <a:t>lines</a:t>
            </a:r>
            <a:r>
              <a:rPr lang="pt-BR" sz="2133" dirty="0">
                <a:latin typeface="Arial (body)"/>
              </a:rPr>
              <a:t>, </a:t>
            </a:r>
            <a:r>
              <a:rPr lang="pt-BR" sz="2133" dirty="0" err="1">
                <a:latin typeface="Arial (body)"/>
              </a:rPr>
              <a:t>serialization</a:t>
            </a:r>
            <a:r>
              <a:rPr lang="pt-BR" sz="2133" dirty="0">
                <a:latin typeface="Arial (body)"/>
              </a:rPr>
              <a:t> </a:t>
            </a:r>
            <a:r>
              <a:rPr lang="pt-BR" sz="2133" dirty="0" err="1">
                <a:latin typeface="Arial (body)"/>
              </a:rPr>
              <a:t>and</a:t>
            </a:r>
            <a:r>
              <a:rPr lang="pt-BR" sz="2133" dirty="0">
                <a:latin typeface="Arial (body)"/>
              </a:rPr>
              <a:t> T&amp;T systems </a:t>
            </a:r>
            <a:r>
              <a:rPr lang="pt-BR" sz="2133" dirty="0" err="1">
                <a:latin typeface="Arial (body)"/>
              </a:rPr>
              <a:t>ready</a:t>
            </a:r>
            <a:endParaRPr lang="pt-BR" sz="2133" dirty="0">
              <a:latin typeface="Arial (body)"/>
            </a:endParaRPr>
          </a:p>
          <a:p>
            <a:pPr>
              <a:spcBef>
                <a:spcPts val="2000"/>
              </a:spcBef>
              <a:spcAft>
                <a:spcPts val="800"/>
              </a:spcAft>
            </a:pPr>
            <a:r>
              <a:rPr lang="pt-BR" sz="2133" dirty="0">
                <a:latin typeface="Arial (body)"/>
              </a:rPr>
              <a:t>SNCM </a:t>
            </a:r>
            <a:r>
              <a:rPr lang="pt-BR" sz="2133" dirty="0" err="1">
                <a:latin typeface="Arial (body)"/>
              </a:rPr>
              <a:t>technical</a:t>
            </a:r>
            <a:r>
              <a:rPr lang="pt-BR" sz="2133" dirty="0">
                <a:latin typeface="Arial (body)"/>
              </a:rPr>
              <a:t> </a:t>
            </a:r>
            <a:r>
              <a:rPr lang="pt-BR" sz="2133" dirty="0" err="1">
                <a:latin typeface="Arial (body)"/>
              </a:rPr>
              <a:t>guideline</a:t>
            </a:r>
            <a:r>
              <a:rPr lang="pt-BR" sz="2133" dirty="0">
                <a:latin typeface="Arial (body)"/>
              </a:rPr>
              <a:t> </a:t>
            </a:r>
            <a:r>
              <a:rPr lang="pt-BR" sz="2133" dirty="0" err="1">
                <a:latin typeface="Arial (body)"/>
              </a:rPr>
              <a:t>drafted</a:t>
            </a:r>
            <a:r>
              <a:rPr lang="pt-BR" sz="2133" dirty="0">
                <a:latin typeface="Arial (body)"/>
              </a:rPr>
              <a:t> </a:t>
            </a:r>
            <a:r>
              <a:rPr lang="pt-BR" sz="2133" dirty="0" err="1">
                <a:latin typeface="Arial (body)"/>
              </a:rPr>
              <a:t>and</a:t>
            </a:r>
            <a:r>
              <a:rPr lang="pt-BR" sz="2133" dirty="0">
                <a:latin typeface="Arial (body)"/>
              </a:rPr>
              <a:t> </a:t>
            </a:r>
            <a:r>
              <a:rPr lang="pt-BR" sz="2133" dirty="0" err="1">
                <a:latin typeface="Arial (body)"/>
              </a:rPr>
              <a:t>shared</a:t>
            </a:r>
            <a:r>
              <a:rPr lang="pt-BR" sz="2133" dirty="0">
                <a:latin typeface="Arial (body)"/>
              </a:rPr>
              <a:t> </a:t>
            </a:r>
            <a:r>
              <a:rPr lang="pt-BR" sz="2133" dirty="0" err="1">
                <a:latin typeface="Arial (body)"/>
              </a:rPr>
              <a:t>with</a:t>
            </a:r>
            <a:r>
              <a:rPr lang="pt-BR" sz="2133" dirty="0">
                <a:latin typeface="Arial (body)"/>
              </a:rPr>
              <a:t> </a:t>
            </a:r>
            <a:r>
              <a:rPr lang="pt-BR" sz="2133" dirty="0" err="1">
                <a:latin typeface="Arial (body)"/>
              </a:rPr>
              <a:t>the</a:t>
            </a:r>
            <a:r>
              <a:rPr lang="pt-BR" sz="2133" dirty="0">
                <a:latin typeface="Arial (body)"/>
              </a:rPr>
              <a:t> experimental </a:t>
            </a:r>
            <a:r>
              <a:rPr lang="pt-BR" sz="2133" dirty="0" err="1">
                <a:latin typeface="Arial (body)"/>
              </a:rPr>
              <a:t>phase</a:t>
            </a:r>
            <a:r>
              <a:rPr lang="pt-BR" sz="2133" dirty="0">
                <a:latin typeface="Arial (body)"/>
              </a:rPr>
              <a:t> </a:t>
            </a:r>
            <a:r>
              <a:rPr lang="pt-BR" sz="2133" dirty="0" err="1">
                <a:latin typeface="Arial (body)"/>
              </a:rPr>
              <a:t>participants</a:t>
            </a:r>
            <a:endParaRPr lang="pt-BR" sz="2133" dirty="0">
              <a:latin typeface="Arial (body)"/>
            </a:endParaRPr>
          </a:p>
          <a:p>
            <a:pPr>
              <a:spcBef>
                <a:spcPts val="2000"/>
              </a:spcBef>
              <a:spcAft>
                <a:spcPts val="800"/>
              </a:spcAft>
            </a:pPr>
            <a:r>
              <a:rPr lang="pt-BR" sz="2133" dirty="0">
                <a:latin typeface="Arial (body)"/>
              </a:rPr>
              <a:t>Technical meetings with Anvisa IT started, as well as interactions with all participan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3DE42C6-25D0-483B-9B5D-A6DDB10C3827}"/>
              </a:ext>
            </a:extLst>
          </p:cNvPr>
          <p:cNvSpPr/>
          <p:nvPr/>
        </p:nvSpPr>
        <p:spPr>
          <a:xfrm>
            <a:off x="609600" y="5679757"/>
            <a:ext cx="111059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“Support </a:t>
            </a:r>
            <a:r>
              <a:rPr lang="pt-BR" sz="2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he</a:t>
            </a:r>
            <a:r>
              <a:rPr lang="pt-BR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egulator</a:t>
            </a:r>
            <a:r>
              <a:rPr lang="pt-BR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o</a:t>
            </a:r>
            <a:r>
              <a:rPr lang="pt-BR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mature SNCM for a </a:t>
            </a:r>
            <a:r>
              <a:rPr lang="pt-BR" sz="2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igger</a:t>
            </a:r>
            <a:r>
              <a:rPr lang="pt-BR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cale</a:t>
            </a:r>
            <a:r>
              <a:rPr lang="pt-BR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mplementation</a:t>
            </a:r>
            <a:r>
              <a:rPr lang="pt-BR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”</a:t>
            </a:r>
            <a:endParaRPr lang="en-US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Picture 2" descr="Resultado de imagem para brazil map">
            <a:extLst>
              <a:ext uri="{FF2B5EF4-FFF2-40B4-BE49-F238E27FC236}">
                <a16:creationId xmlns:a16="http://schemas.microsoft.com/office/drawing/2014/main" id="{8BB07D92-FCC2-4D53-800C-F05FCCC838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774" y="142101"/>
            <a:ext cx="1552025" cy="1545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3715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57BBBFEE-B439-4F1E-AF6A-251737451A59}"/>
              </a:ext>
            </a:extLst>
          </p:cNvPr>
          <p:cNvSpPr txBox="1">
            <a:spLocks/>
          </p:cNvSpPr>
          <p:nvPr/>
        </p:nvSpPr>
        <p:spPr>
          <a:xfrm>
            <a:off x="9245600" y="6518275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12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18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30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638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547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455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366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275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310939B-5458-484E-97A2-E8100EE90BF7}" type="slidenum">
              <a:rPr lang="nl-NL" sz="1200">
                <a:solidFill>
                  <a:schemeClr val="bg1"/>
                </a:solidFill>
              </a:rPr>
              <a:pPr algn="r"/>
              <a:t>13</a:t>
            </a:fld>
            <a:endParaRPr lang="nl-NL" sz="1200">
              <a:solidFill>
                <a:schemeClr val="bg1"/>
              </a:solidFill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F3DBA4A-1162-49BB-BABB-4580048CB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026" y="283375"/>
            <a:ext cx="8235951" cy="1107996"/>
          </a:xfrm>
        </p:spPr>
        <p:txBody>
          <a:bodyPr/>
          <a:lstStyle/>
          <a:p>
            <a:r>
              <a:rPr lang="en-US" dirty="0"/>
              <a:t>Brazilian Serialization and T&amp;T</a:t>
            </a:r>
            <a:br>
              <a:rPr lang="en-US" dirty="0"/>
            </a:br>
            <a:r>
              <a:rPr lang="en-US" sz="3200" i="1" dirty="0">
                <a:solidFill>
                  <a:schemeClr val="tx1">
                    <a:lumMod val="60000"/>
                    <a:lumOff val="40000"/>
                  </a:schemeClr>
                </a:solidFill>
                <a:latin typeface="Georgia" panose="02040502050405020303" pitchFamily="18" charset="0"/>
              </a:rPr>
              <a:t>Next Steps</a:t>
            </a:r>
            <a:endParaRPr lang="en-US" sz="3200" i="1" dirty="0">
              <a:solidFill>
                <a:schemeClr val="tx1">
                  <a:lumMod val="60000"/>
                  <a:lumOff val="40000"/>
                </a:schemeClr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CAA74349-5C1E-4F59-A2D1-4229E08241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2260600"/>
            <a:ext cx="11480801" cy="3149600"/>
          </a:xfrm>
        </p:spPr>
        <p:txBody>
          <a:bodyPr/>
          <a:lstStyle/>
          <a:p>
            <a:pPr>
              <a:spcBef>
                <a:spcPts val="1800"/>
              </a:spcBef>
              <a:spcAft>
                <a:spcPts val="2400"/>
              </a:spcAft>
            </a:pPr>
            <a:r>
              <a:rPr lang="pt-BR" sz="2400" dirty="0">
                <a:latin typeface="Arial (body)"/>
              </a:rPr>
              <a:t>Project governance to be established in both Anvisa and private market levels</a:t>
            </a:r>
          </a:p>
          <a:p>
            <a:pPr>
              <a:spcBef>
                <a:spcPts val="1800"/>
              </a:spcBef>
              <a:spcAft>
                <a:spcPts val="2400"/>
              </a:spcAft>
            </a:pPr>
            <a:r>
              <a:rPr lang="pt-BR" sz="2400" dirty="0" err="1">
                <a:latin typeface="Arial (body)"/>
              </a:rPr>
              <a:t>Validate</a:t>
            </a:r>
            <a:r>
              <a:rPr lang="pt-BR" sz="2400" dirty="0">
                <a:latin typeface="Arial (body)"/>
              </a:rPr>
              <a:t> </a:t>
            </a:r>
            <a:r>
              <a:rPr lang="pt-BR" sz="2400" dirty="0" err="1">
                <a:latin typeface="Arial (body)"/>
              </a:rPr>
              <a:t>the</a:t>
            </a:r>
            <a:r>
              <a:rPr lang="pt-BR" sz="2400" dirty="0">
                <a:latin typeface="Arial (body)"/>
              </a:rPr>
              <a:t> business processes </a:t>
            </a:r>
            <a:r>
              <a:rPr lang="pt-BR" sz="2400" dirty="0" err="1">
                <a:latin typeface="Arial (body)"/>
              </a:rPr>
              <a:t>and</a:t>
            </a:r>
            <a:r>
              <a:rPr lang="pt-BR" sz="2400" dirty="0">
                <a:latin typeface="Arial (body)"/>
              </a:rPr>
              <a:t> </a:t>
            </a:r>
            <a:r>
              <a:rPr lang="pt-BR" sz="2400" dirty="0" err="1">
                <a:latin typeface="Arial (body)"/>
              </a:rPr>
              <a:t>connectivity</a:t>
            </a:r>
            <a:r>
              <a:rPr lang="pt-BR" sz="2400" dirty="0">
                <a:latin typeface="Arial (body)"/>
              </a:rPr>
              <a:t> </a:t>
            </a:r>
            <a:r>
              <a:rPr lang="pt-BR" sz="2400" dirty="0" err="1">
                <a:latin typeface="Arial (body)"/>
              </a:rPr>
              <a:t>requirements</a:t>
            </a:r>
            <a:r>
              <a:rPr lang="pt-BR" sz="2400" dirty="0">
                <a:latin typeface="Arial (body)"/>
              </a:rPr>
              <a:t> </a:t>
            </a:r>
            <a:r>
              <a:rPr lang="pt-BR" sz="2400" dirty="0" err="1">
                <a:latin typeface="Arial (body)"/>
              </a:rPr>
              <a:t>with</a:t>
            </a:r>
            <a:r>
              <a:rPr lang="pt-BR" sz="2400" dirty="0">
                <a:latin typeface="Arial (body)"/>
              </a:rPr>
              <a:t> Anvisa</a:t>
            </a:r>
          </a:p>
          <a:p>
            <a:pPr>
              <a:spcBef>
                <a:spcPts val="1800"/>
              </a:spcBef>
              <a:spcAft>
                <a:spcPts val="2400"/>
              </a:spcAft>
            </a:pPr>
            <a:r>
              <a:rPr lang="pt-BR" sz="2400" dirty="0" err="1">
                <a:latin typeface="Arial (body)"/>
              </a:rPr>
              <a:t>Adjust</a:t>
            </a:r>
            <a:r>
              <a:rPr lang="pt-BR" sz="2400" dirty="0">
                <a:latin typeface="Arial (body)"/>
              </a:rPr>
              <a:t> </a:t>
            </a:r>
            <a:r>
              <a:rPr lang="pt-BR" sz="2400" dirty="0" err="1">
                <a:latin typeface="Arial (body)"/>
              </a:rPr>
              <a:t>and</a:t>
            </a:r>
            <a:r>
              <a:rPr lang="pt-BR" sz="2400" dirty="0">
                <a:latin typeface="Arial (body)"/>
              </a:rPr>
              <a:t> fine tune </a:t>
            </a:r>
            <a:r>
              <a:rPr lang="pt-BR" sz="2400" dirty="0" err="1">
                <a:latin typeface="Arial (body)"/>
              </a:rPr>
              <a:t>the</a:t>
            </a:r>
            <a:r>
              <a:rPr lang="pt-BR" sz="2400" dirty="0">
                <a:latin typeface="Arial (body)"/>
              </a:rPr>
              <a:t> </a:t>
            </a:r>
            <a:r>
              <a:rPr lang="pt-BR" sz="2400" dirty="0" err="1">
                <a:latin typeface="Arial (body)"/>
              </a:rPr>
              <a:t>technical</a:t>
            </a:r>
            <a:r>
              <a:rPr lang="pt-BR" sz="2400" dirty="0">
                <a:latin typeface="Arial (body)"/>
              </a:rPr>
              <a:t> </a:t>
            </a:r>
            <a:r>
              <a:rPr lang="pt-BR" sz="2400" dirty="0" err="1">
                <a:latin typeface="Arial (body)"/>
              </a:rPr>
              <a:t>requirements</a:t>
            </a:r>
            <a:r>
              <a:rPr lang="pt-BR" sz="2400" dirty="0">
                <a:latin typeface="Arial (body)"/>
              </a:rPr>
              <a:t> as </a:t>
            </a:r>
            <a:r>
              <a:rPr lang="pt-BR" sz="2400" dirty="0" err="1">
                <a:latin typeface="Arial (body)"/>
              </a:rPr>
              <a:t>the</a:t>
            </a:r>
            <a:r>
              <a:rPr lang="pt-BR" sz="2400" dirty="0">
                <a:latin typeface="Arial (body)"/>
              </a:rPr>
              <a:t> </a:t>
            </a:r>
            <a:r>
              <a:rPr lang="pt-BR" sz="2400" dirty="0" err="1">
                <a:latin typeface="Arial (body)"/>
              </a:rPr>
              <a:t>participants</a:t>
            </a:r>
            <a:r>
              <a:rPr lang="pt-BR" sz="2400" dirty="0">
                <a:latin typeface="Arial (body)"/>
              </a:rPr>
              <a:t> </a:t>
            </a:r>
            <a:r>
              <a:rPr lang="pt-BR" sz="2400" dirty="0" err="1">
                <a:latin typeface="Arial (body)"/>
              </a:rPr>
              <a:t>progress</a:t>
            </a:r>
            <a:r>
              <a:rPr lang="pt-BR" sz="2400" dirty="0">
                <a:latin typeface="Arial (body)"/>
              </a:rPr>
              <a:t> </a:t>
            </a:r>
            <a:r>
              <a:rPr lang="pt-BR" sz="2400" dirty="0" err="1">
                <a:latin typeface="Arial (body)"/>
              </a:rPr>
              <a:t>throughout</a:t>
            </a:r>
            <a:r>
              <a:rPr lang="pt-BR" sz="2400" dirty="0">
                <a:latin typeface="Arial (body)"/>
              </a:rPr>
              <a:t> </a:t>
            </a:r>
            <a:r>
              <a:rPr lang="pt-BR" sz="2400" dirty="0" err="1">
                <a:latin typeface="Arial (body)"/>
              </a:rPr>
              <a:t>the</a:t>
            </a:r>
            <a:r>
              <a:rPr lang="pt-BR" sz="2400" dirty="0">
                <a:latin typeface="Arial (body)"/>
              </a:rPr>
              <a:t> experimental </a:t>
            </a:r>
            <a:r>
              <a:rPr lang="pt-BR" sz="2400" dirty="0" err="1">
                <a:latin typeface="Arial (body)"/>
              </a:rPr>
              <a:t>phase</a:t>
            </a:r>
            <a:endParaRPr lang="pt-BR" sz="2400" dirty="0">
              <a:latin typeface="Arial (body)"/>
            </a:endParaRPr>
          </a:p>
          <a:p>
            <a:pPr>
              <a:spcBef>
                <a:spcPts val="1800"/>
              </a:spcBef>
              <a:spcAft>
                <a:spcPts val="2400"/>
              </a:spcAft>
            </a:pPr>
            <a:r>
              <a:rPr lang="pt-BR" sz="2400" dirty="0">
                <a:latin typeface="Arial (body)"/>
              </a:rPr>
              <a:t>Cascade down the SNCM connectivity to the rest of the supply chain</a:t>
            </a:r>
          </a:p>
        </p:txBody>
      </p:sp>
      <p:pic>
        <p:nvPicPr>
          <p:cNvPr id="6" name="Picture 2" descr="Resultado de imagem para brazil map">
            <a:extLst>
              <a:ext uri="{FF2B5EF4-FFF2-40B4-BE49-F238E27FC236}">
                <a16:creationId xmlns:a16="http://schemas.microsoft.com/office/drawing/2014/main" id="{F5B41AE2-3976-42CF-9062-6CA4F63546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774" y="142101"/>
            <a:ext cx="1552025" cy="1545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7544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http://thegledaproject.com/wp-content/uploads/Thanks.png">
            <a:extLst>
              <a:ext uri="{FF2B5EF4-FFF2-40B4-BE49-F238E27FC236}">
                <a16:creationId xmlns:a16="http://schemas.microsoft.com/office/drawing/2014/main" id="{B4881446-22E4-40F7-90CD-731D14E4A9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403" y="76200"/>
            <a:ext cx="10680700" cy="650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1B79D4F-9835-4052-9D4C-935213C6BB76}"/>
              </a:ext>
            </a:extLst>
          </p:cNvPr>
          <p:cNvSpPr/>
          <p:nvPr/>
        </p:nvSpPr>
        <p:spPr bwMode="auto">
          <a:xfrm>
            <a:off x="0" y="6477000"/>
            <a:ext cx="12192000" cy="381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 defTabSz="1219170"/>
            <a:endParaRPr lang="en-US" sz="4267" dirty="0" err="1">
              <a:solidFill>
                <a:schemeClr val="bg1"/>
              </a:solidFill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5571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0F3DBA4A-1162-49BB-BABB-4580048CB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027" y="283377"/>
            <a:ext cx="8235951" cy="615553"/>
          </a:xfrm>
        </p:spPr>
        <p:txBody>
          <a:bodyPr/>
          <a:lstStyle/>
          <a:p>
            <a:r>
              <a:rPr lang="en-US" dirty="0"/>
              <a:t>Agenda</a:t>
            </a:r>
            <a:endParaRPr lang="en-US" sz="3200" i="1" dirty="0">
              <a:solidFill>
                <a:schemeClr val="tx1">
                  <a:lumMod val="60000"/>
                  <a:lumOff val="40000"/>
                </a:schemeClr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CAA74349-5C1E-4F59-A2D1-4229E08241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2801" y="1397000"/>
            <a:ext cx="5283201" cy="5080000"/>
          </a:xfrm>
        </p:spPr>
        <p:txBody>
          <a:bodyPr/>
          <a:lstStyle/>
          <a:p>
            <a:pPr marL="0" indent="0">
              <a:spcBef>
                <a:spcPts val="1200"/>
              </a:spcBef>
              <a:spcAft>
                <a:spcPts val="600"/>
              </a:spcAft>
              <a:buNone/>
            </a:pPr>
            <a:r>
              <a:rPr lang="pt-BR" sz="2267" dirty="0">
                <a:latin typeface="Arial" panose="020B0604020202020204" pitchFamily="34" charset="0"/>
                <a:cs typeface="Arial" panose="020B0604020202020204" pitchFamily="34" charset="0"/>
              </a:rPr>
              <a:t>Johnson &amp; Johnson Quick Overview</a:t>
            </a:r>
          </a:p>
          <a:p>
            <a:pPr marL="0" indent="0">
              <a:spcBef>
                <a:spcPts val="1200"/>
              </a:spcBef>
              <a:spcAft>
                <a:spcPts val="600"/>
              </a:spcAft>
              <a:buNone/>
            </a:pPr>
            <a:r>
              <a:rPr lang="pt-BR" sz="2267" dirty="0">
                <a:latin typeface="Arial" panose="020B0604020202020204" pitchFamily="34" charset="0"/>
                <a:cs typeface="Arial" panose="020B0604020202020204" pitchFamily="34" charset="0"/>
              </a:rPr>
              <a:t>Brazilian Deployment</a:t>
            </a:r>
          </a:p>
          <a:p>
            <a:pPr lvl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2133" dirty="0">
                <a:latin typeface="Arial" panose="020B0604020202020204" pitchFamily="34" charset="0"/>
                <a:cs typeface="Arial" panose="020B0604020202020204" pitchFamily="34" charset="0"/>
              </a:rPr>
              <a:t>J&amp;J Pilot RDC-54/2013</a:t>
            </a:r>
          </a:p>
          <a:p>
            <a:pPr lvl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2133" dirty="0">
                <a:latin typeface="Arial" panose="020B0604020202020204" pitchFamily="34" charset="0"/>
                <a:cs typeface="Arial" panose="020B0604020202020204" pitchFamily="34" charset="0"/>
              </a:rPr>
              <a:t>Market Deployment RDC-157/2017</a:t>
            </a:r>
          </a:p>
          <a:p>
            <a:pPr lvl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2133" dirty="0">
                <a:latin typeface="Arial" panose="020B0604020202020204" pitchFamily="34" charset="0"/>
                <a:cs typeface="Arial" panose="020B0604020202020204" pitchFamily="34" charset="0"/>
              </a:rPr>
              <a:t>Deployment Next Steps</a:t>
            </a:r>
          </a:p>
          <a:p>
            <a:pPr marL="0" indent="0">
              <a:spcBef>
                <a:spcPts val="1200"/>
              </a:spcBef>
              <a:spcAft>
                <a:spcPts val="600"/>
              </a:spcAft>
              <a:buNone/>
            </a:pPr>
            <a:r>
              <a:rPr lang="pt-BR" sz="2267" dirty="0">
                <a:latin typeface="Arial" panose="020B0604020202020204" pitchFamily="34" charset="0"/>
                <a:cs typeface="Arial" panose="020B0604020202020204" pitchFamily="34" charset="0"/>
              </a:rPr>
              <a:t>Q&amp;A</a:t>
            </a:r>
            <a:endParaRPr lang="en-US" sz="26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171CE7A-4D19-4237-A797-5A7FC0ABF8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8128000" y="3700190"/>
            <a:ext cx="4064000" cy="280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340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ohnson &amp; Johns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4602" y="1400096"/>
            <a:ext cx="5271145" cy="4525963"/>
          </a:xfrm>
        </p:spPr>
        <p:txBody>
          <a:bodyPr/>
          <a:lstStyle/>
          <a:p>
            <a:pPr>
              <a:spcBef>
                <a:spcPts val="1800"/>
              </a:spcBef>
              <a:spcAft>
                <a:spcPts val="600"/>
              </a:spcAft>
            </a:pPr>
            <a:r>
              <a:rPr lang="en-US" sz="2400" dirty="0">
                <a:latin typeface="Arial (body)"/>
              </a:rPr>
              <a:t>Global science &amp; technology company focused solely on healthcare</a:t>
            </a:r>
          </a:p>
          <a:p>
            <a:pPr>
              <a:spcBef>
                <a:spcPts val="1800"/>
              </a:spcBef>
              <a:spcAft>
                <a:spcPts val="600"/>
              </a:spcAft>
            </a:pPr>
            <a:r>
              <a:rPr lang="en-US" sz="2400" dirty="0">
                <a:latin typeface="Arial (body)"/>
              </a:rPr>
              <a:t>More than 275 operating companies in 60 countries </a:t>
            </a:r>
          </a:p>
          <a:p>
            <a:pPr>
              <a:spcBef>
                <a:spcPts val="1800"/>
              </a:spcBef>
              <a:spcAft>
                <a:spcPts val="600"/>
              </a:spcAft>
            </a:pPr>
            <a:r>
              <a:rPr lang="en-US" sz="2400" dirty="0">
                <a:latin typeface="Arial (body)"/>
              </a:rPr>
              <a:t>Selling products in more than </a:t>
            </a:r>
            <a:br>
              <a:rPr lang="en-US" sz="2400" dirty="0">
                <a:latin typeface="Arial (body)"/>
              </a:rPr>
            </a:br>
            <a:r>
              <a:rPr lang="en-US" sz="2400" dirty="0">
                <a:latin typeface="Arial (body)"/>
              </a:rPr>
              <a:t>175 countries</a:t>
            </a:r>
          </a:p>
          <a:p>
            <a:pPr>
              <a:spcBef>
                <a:spcPts val="1800"/>
              </a:spcBef>
              <a:spcAft>
                <a:spcPts val="600"/>
              </a:spcAft>
            </a:pPr>
            <a:r>
              <a:rPr lang="en-US" sz="2400" dirty="0">
                <a:latin typeface="Arial (body)"/>
              </a:rPr>
              <a:t>More than 130,000 employees worldwide</a:t>
            </a:r>
          </a:p>
          <a:p>
            <a:pPr>
              <a:spcAft>
                <a:spcPts val="600"/>
              </a:spcAft>
            </a:pPr>
            <a:endParaRPr lang="en-US" sz="2400" dirty="0">
              <a:latin typeface="Arial (body)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990602" y="1447800"/>
            <a:ext cx="4483823" cy="4350744"/>
            <a:chOff x="240578" y="1897656"/>
            <a:chExt cx="4224383" cy="3773150"/>
          </a:xfrm>
        </p:grpSpPr>
        <p:pic>
          <p:nvPicPr>
            <p:cNvPr id="6" name="Picture 5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4545"/>
            <a:stretch/>
          </p:blipFill>
          <p:spPr bwMode="auto">
            <a:xfrm>
              <a:off x="242946" y="3165715"/>
              <a:ext cx="2197251" cy="1330085"/>
            </a:xfrm>
            <a:prstGeom prst="rect">
              <a:avLst/>
            </a:prstGeom>
            <a:noFill/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7" name="Picture 3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241" t="6508" r="11080" b="19948"/>
            <a:stretch/>
          </p:blipFill>
          <p:spPr bwMode="auto">
            <a:xfrm>
              <a:off x="242948" y="1897656"/>
              <a:ext cx="2197249" cy="1313038"/>
            </a:xfrm>
            <a:prstGeom prst="rect">
              <a:avLst/>
            </a:prstGeom>
            <a:noFill/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9" name="Picture 5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66" r="9099"/>
            <a:stretch/>
          </p:blipFill>
          <p:spPr bwMode="auto">
            <a:xfrm>
              <a:off x="2258372" y="3151347"/>
              <a:ext cx="2192457" cy="1344453"/>
            </a:xfrm>
            <a:prstGeom prst="rect">
              <a:avLst/>
            </a:prstGeom>
            <a:noFill/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10" name="Picture 6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7134"/>
            <a:stretch/>
          </p:blipFill>
          <p:spPr bwMode="auto">
            <a:xfrm>
              <a:off x="2244239" y="4485830"/>
              <a:ext cx="2206589" cy="1184976"/>
            </a:xfrm>
            <a:prstGeom prst="rect">
              <a:avLst/>
            </a:prstGeom>
            <a:noFill/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11" name="Picture 8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353"/>
            <a:stretch/>
          </p:blipFill>
          <p:spPr bwMode="auto">
            <a:xfrm>
              <a:off x="240578" y="4495800"/>
              <a:ext cx="2017794" cy="1175006"/>
            </a:xfrm>
            <a:prstGeom prst="rect">
              <a:avLst/>
            </a:prstGeom>
            <a:noFill/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12" name="Picture 6" descr="https://jnj.brightspotcdn.com/dims4/default/863a889/2147483647/crop/798x453%2B201%2B0/resize/439x249/quality/90/?url=http%3A%2F%2Fjnj-brightspot.s3.amazonaws.com%2F23%2F8f%2F2f0e9c0f45a2947e1a9efebc85d1%2Fhealthy-solutions.jpeg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001" r="4950"/>
            <a:stretch/>
          </p:blipFill>
          <p:spPr bwMode="auto">
            <a:xfrm>
              <a:off x="2270945" y="1897656"/>
              <a:ext cx="2194016" cy="131271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92086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1337733" y="279400"/>
            <a:ext cx="12192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4667" dirty="0">
              <a:solidFill>
                <a:srgbClr val="595959"/>
              </a:solidFill>
            </a:endParaRPr>
          </a:p>
        </p:txBody>
      </p:sp>
      <p:sp>
        <p:nvSpPr>
          <p:cNvPr id="1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ohnson &amp; Johnson Portfolio</a:t>
            </a:r>
          </a:p>
        </p:txBody>
      </p:sp>
      <p:pic>
        <p:nvPicPr>
          <p:cNvPr id="26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01" t="38834" b="42206"/>
          <a:stretch/>
        </p:blipFill>
        <p:spPr bwMode="auto">
          <a:xfrm>
            <a:off x="7053904" y="2988255"/>
            <a:ext cx="4905768" cy="1280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477"/>
          <a:stretch/>
        </p:blipFill>
        <p:spPr>
          <a:xfrm>
            <a:off x="7392705" y="782622"/>
            <a:ext cx="4269987" cy="1965423"/>
          </a:xfrm>
          <a:prstGeom prst="rect">
            <a:avLst/>
          </a:prstGeom>
        </p:spPr>
      </p:pic>
      <p:pic>
        <p:nvPicPr>
          <p:cNvPr id="29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394" t="64076" r="2001" b="8969"/>
          <a:stretch/>
        </p:blipFill>
        <p:spPr bwMode="auto">
          <a:xfrm>
            <a:off x="7262407" y="4552157"/>
            <a:ext cx="4530583" cy="1821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ctangle 286"/>
          <p:cNvSpPr txBox="1">
            <a:spLocks noChangeArrowheads="1"/>
          </p:cNvSpPr>
          <p:nvPr/>
        </p:nvSpPr>
        <p:spPr bwMode="gray">
          <a:xfrm>
            <a:off x="609603" y="1261345"/>
            <a:ext cx="5041671" cy="15492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575" indent="-191990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962" indent="-261803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044" indent="-155496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421" indent="-130107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421" indent="-130107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421" indent="-130107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421" indent="-130107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421" indent="-130107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ts val="1200"/>
              </a:spcBef>
              <a:buClr>
                <a:schemeClr val="accent5"/>
              </a:buClr>
              <a:buSzPct val="100000"/>
            </a:pPr>
            <a:r>
              <a:rPr lang="en-US" sz="2667" dirty="0">
                <a:solidFill>
                  <a:srgbClr val="FF0000"/>
                </a:solidFill>
                <a:latin typeface="Arial (body)"/>
                <a:ea typeface="Arial Unicode MS" pitchFamily="34" charset="-128"/>
                <a:cs typeface="Arial" panose="020B0604020202020204" pitchFamily="34" charset="0"/>
              </a:rPr>
              <a:t>Consumer</a:t>
            </a:r>
          </a:p>
          <a:p>
            <a:pPr algn="ctr">
              <a:spcBef>
                <a:spcPts val="1200"/>
              </a:spcBef>
              <a:buClr>
                <a:schemeClr val="accent5"/>
              </a:buClr>
              <a:buSzPct val="100000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 (body)"/>
                <a:ea typeface="Arial Unicode MS" pitchFamily="34" charset="-128"/>
                <a:cs typeface="Arial" panose="020B0604020202020204" pitchFamily="34" charset="0"/>
              </a:rPr>
              <a:t>Baby Care • Body Care • Facial Skin Care • Sun Care • Feminine Personal Care •  Allergy Care •  Compromised Skin Care •  Cough and Cold Care • Digestive Health •  Oral Care • Pain Care</a:t>
            </a:r>
            <a:endParaRPr lang="en-US" dirty="0">
              <a:solidFill>
                <a:schemeClr val="bg1">
                  <a:lumMod val="50000"/>
                </a:schemeClr>
              </a:solidFill>
              <a:latin typeface="Arial (body)"/>
              <a:cs typeface="Arial" panose="020B0604020202020204" pitchFamily="34" charset="0"/>
            </a:endParaRPr>
          </a:p>
        </p:txBody>
      </p:sp>
      <p:sp>
        <p:nvSpPr>
          <p:cNvPr id="31" name="Rectangle 286"/>
          <p:cNvSpPr txBox="1">
            <a:spLocks noChangeArrowheads="1"/>
          </p:cNvSpPr>
          <p:nvPr/>
        </p:nvSpPr>
        <p:spPr bwMode="gray">
          <a:xfrm>
            <a:off x="609603" y="3122825"/>
            <a:ext cx="5041671" cy="1302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575" indent="-191990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962" indent="-261803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044" indent="-155496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421" indent="-130107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421" indent="-130107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421" indent="-130107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421" indent="-130107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421" indent="-130107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ts val="1200"/>
              </a:spcBef>
              <a:buClr>
                <a:schemeClr val="accent5"/>
              </a:buClr>
              <a:buSzPct val="100000"/>
            </a:pPr>
            <a:r>
              <a:rPr lang="en-US" sz="2667" dirty="0">
                <a:solidFill>
                  <a:srgbClr val="FF0000"/>
                </a:solidFill>
                <a:latin typeface="Arial (body)"/>
                <a:ea typeface="Arial Unicode MS" pitchFamily="34" charset="-128"/>
                <a:cs typeface="Arial" panose="020B0604020202020204" pitchFamily="34" charset="0"/>
              </a:rPr>
              <a:t>Medical Devices</a:t>
            </a:r>
          </a:p>
          <a:p>
            <a:pPr algn="ctr">
              <a:spcBef>
                <a:spcPts val="1200"/>
              </a:spcBef>
              <a:buClr>
                <a:schemeClr val="accent5"/>
              </a:buClr>
              <a:buSzPct val="100000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 (body)"/>
                <a:ea typeface="Arial Unicode MS" pitchFamily="34" charset="-128"/>
                <a:cs typeface="Arial" panose="020B0604020202020204" pitchFamily="34" charset="0"/>
              </a:rPr>
              <a:t>Wound Closure &amp; Surgical Devices • Minimally Invasive Surgery • Joint Replacement • Sterilization • Eye Health •  Diabetes Care</a:t>
            </a:r>
            <a:endParaRPr lang="en-US" dirty="0">
              <a:solidFill>
                <a:schemeClr val="bg1">
                  <a:lumMod val="50000"/>
                </a:schemeClr>
              </a:solidFill>
              <a:latin typeface="Arial (body)"/>
              <a:cs typeface="Arial" panose="020B0604020202020204" pitchFamily="34" charset="0"/>
            </a:endParaRPr>
          </a:p>
        </p:txBody>
      </p:sp>
      <p:sp>
        <p:nvSpPr>
          <p:cNvPr id="33" name="Rectangle 286"/>
          <p:cNvSpPr txBox="1">
            <a:spLocks noChangeArrowheads="1"/>
          </p:cNvSpPr>
          <p:nvPr/>
        </p:nvSpPr>
        <p:spPr bwMode="gray">
          <a:xfrm>
            <a:off x="609603" y="4811242"/>
            <a:ext cx="5041671" cy="1302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575" indent="-191990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962" indent="-261803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044" indent="-155496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421" indent="-130107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421" indent="-130107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421" indent="-130107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421" indent="-130107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421" indent="-130107" algn="l" defTabSz="89488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ts val="1200"/>
              </a:spcBef>
              <a:buClr>
                <a:schemeClr val="accent5"/>
              </a:buClr>
              <a:buSzPct val="100000"/>
            </a:pPr>
            <a:r>
              <a:rPr lang="en-US" sz="2667" dirty="0">
                <a:solidFill>
                  <a:srgbClr val="FF0000"/>
                </a:solidFill>
                <a:latin typeface="Arial (body)"/>
                <a:ea typeface="Arial Unicode MS" pitchFamily="34" charset="-128"/>
                <a:cs typeface="Arial" panose="020B0604020202020204" pitchFamily="34" charset="0"/>
              </a:rPr>
              <a:t>Pharmaceuticals</a:t>
            </a:r>
            <a:r>
              <a:rPr lang="en-US" sz="2667" dirty="0">
                <a:solidFill>
                  <a:schemeClr val="accent5"/>
                </a:solidFill>
                <a:latin typeface="Arial (body)"/>
                <a:ea typeface="Arial Unicode MS" pitchFamily="34" charset="-128"/>
                <a:cs typeface="Arial" panose="020B0604020202020204" pitchFamily="34" charset="0"/>
              </a:rPr>
              <a:t> </a:t>
            </a:r>
          </a:p>
          <a:p>
            <a:pPr algn="ctr">
              <a:spcBef>
                <a:spcPts val="1200"/>
              </a:spcBef>
              <a:buClr>
                <a:schemeClr val="accent5"/>
              </a:buClr>
              <a:buSzPct val="100000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 (body)"/>
                <a:ea typeface="Arial Unicode MS" pitchFamily="34" charset="-128"/>
                <a:cs typeface="Arial" panose="020B0604020202020204" pitchFamily="34" charset="0"/>
              </a:rPr>
              <a:t>Oncology • Infectious Diseases &amp; Vaccines • Immunology • Cardiovascular &amp; Metabolism • Neuroscience &amp; Pain • Pulmonary Hypertension</a:t>
            </a:r>
            <a:endParaRPr lang="en-US" dirty="0">
              <a:solidFill>
                <a:schemeClr val="bg1">
                  <a:lumMod val="50000"/>
                </a:schemeClr>
              </a:solidFill>
              <a:latin typeface="Arial (body)"/>
              <a:cs typeface="Arial" panose="020B0604020202020204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9433"/>
          <a:stretch/>
        </p:blipFill>
        <p:spPr>
          <a:xfrm>
            <a:off x="8703060" y="2954459"/>
            <a:ext cx="824637" cy="581924"/>
          </a:xfrm>
          <a:prstGeom prst="rect">
            <a:avLst/>
          </a:prstGeom>
        </p:spPr>
      </p:pic>
      <p:cxnSp>
        <p:nvCxnSpPr>
          <p:cNvPr id="4" name="Straight Connector 3"/>
          <p:cNvCxnSpPr/>
          <p:nvPr/>
        </p:nvCxnSpPr>
        <p:spPr bwMode="auto">
          <a:xfrm>
            <a:off x="609601" y="2941953"/>
            <a:ext cx="11183387" cy="0"/>
          </a:xfrm>
          <a:prstGeom prst="line">
            <a:avLst/>
          </a:prstGeom>
          <a:solidFill>
            <a:srgbClr val="C0C0C0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Straight Connector 33"/>
          <p:cNvCxnSpPr/>
          <p:nvPr/>
        </p:nvCxnSpPr>
        <p:spPr bwMode="auto">
          <a:xfrm>
            <a:off x="609601" y="4582301"/>
            <a:ext cx="11183387" cy="0"/>
          </a:xfrm>
          <a:prstGeom prst="line">
            <a:avLst/>
          </a:prstGeom>
          <a:solidFill>
            <a:srgbClr val="C0C0C0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87849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0935" y="14630"/>
            <a:ext cx="11963400" cy="6508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1477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304804"/>
            <a:ext cx="10963415" cy="615553"/>
          </a:xfrm>
        </p:spPr>
        <p:txBody>
          <a:bodyPr/>
          <a:lstStyle/>
          <a:p>
            <a:r>
              <a:rPr lang="en-US" b="0" dirty="0">
                <a:solidFill>
                  <a:schemeClr val="tx1"/>
                </a:solidFill>
              </a:rPr>
              <a:t>Johnson &amp; Johnson and GS1 Partnershi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219202"/>
            <a:ext cx="10963416" cy="5236945"/>
          </a:xfrm>
        </p:spPr>
        <p:txBody>
          <a:bodyPr/>
          <a:lstStyle/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US" sz="2267" dirty="0">
                <a:latin typeface="Arial" panose="020B0604020202020204" pitchFamily="34" charset="0"/>
                <a:cs typeface="Arial" panose="020B0604020202020204" pitchFamily="34" charset="0"/>
              </a:rPr>
              <a:t>J&amp;J worldwide supply chain leader on GS1 Executive Board</a:t>
            </a: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US" sz="2267" dirty="0">
                <a:latin typeface="Arial" panose="020B0604020202020204" pitchFamily="34" charset="0"/>
                <a:cs typeface="Arial" panose="020B0604020202020204" pitchFamily="34" charset="0"/>
              </a:rPr>
              <a:t>Global supply chain Strategy &amp; Deployment VP on the US GS1 Executive Board</a:t>
            </a: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US" sz="2267" dirty="0">
                <a:latin typeface="Arial" panose="020B0604020202020204" pitchFamily="34" charset="0"/>
                <a:cs typeface="Arial" panose="020B0604020202020204" pitchFamily="34" charset="0"/>
              </a:rPr>
              <a:t>Strong connection with external working groups promoting best practices and GS1 standards</a:t>
            </a: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US" sz="2267" dirty="0">
                <a:latin typeface="Arial" panose="020B0604020202020204" pitchFamily="34" charset="0"/>
                <a:cs typeface="Arial" panose="020B0604020202020204" pitchFamily="34" charset="0"/>
              </a:rPr>
              <a:t>GS1 standards embedded into all J&amp;J efforts</a:t>
            </a:r>
          </a:p>
          <a:p>
            <a:pPr marL="0" indent="0">
              <a:buNone/>
            </a:pPr>
            <a:endParaRPr lang="pt-BR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pt-BR" sz="3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pt-BR" sz="2400" i="1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pt-BR" sz="2600" i="1" dirty="0">
                <a:latin typeface="Arial" panose="020B0604020202020204" pitchFamily="34" charset="0"/>
                <a:cs typeface="Arial" panose="020B0604020202020204" pitchFamily="34" charset="0"/>
              </a:rPr>
              <a:t>Supply chain players and regulators</a:t>
            </a:r>
          </a:p>
          <a:p>
            <a:pPr marL="0" indent="0">
              <a:spcBef>
                <a:spcPts val="800"/>
              </a:spcBef>
              <a:buNone/>
            </a:pPr>
            <a:r>
              <a:rPr lang="pt-BR" sz="2600" i="1" dirty="0">
                <a:latin typeface="Arial" panose="020B0604020202020204" pitchFamily="34" charset="0"/>
                <a:cs typeface="Arial" panose="020B0604020202020204" pitchFamily="34" charset="0"/>
              </a:rPr>
              <a:t>       in need of a </a:t>
            </a:r>
            <a:r>
              <a:rPr lang="en-US" sz="2600" i="1" dirty="0">
                <a:latin typeface="Arial" panose="020B0604020202020204" pitchFamily="34" charset="0"/>
                <a:cs typeface="Arial" panose="020B0604020202020204" pitchFamily="34" charset="0"/>
              </a:rPr>
              <a:t>common language!</a:t>
            </a:r>
          </a:p>
          <a:p>
            <a:endParaRPr lang="en-US" sz="26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6" name="Picture 8" descr="Resultado de imagem para common voice">
            <a:extLst>
              <a:ext uri="{FF2B5EF4-FFF2-40B4-BE49-F238E27FC236}">
                <a16:creationId xmlns:a16="http://schemas.microsoft.com/office/drawing/2014/main" id="{C5EB7E4B-63A4-4EC6-8905-4088D13902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600" y="4436635"/>
            <a:ext cx="4470400" cy="1735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1574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89F6E63A-C390-4B75-A5A9-137B583D20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026" y="283376"/>
            <a:ext cx="10620375" cy="615553"/>
          </a:xfrm>
        </p:spPr>
        <p:txBody>
          <a:bodyPr/>
          <a:lstStyle/>
          <a:p>
            <a:r>
              <a:rPr lang="en-US" dirty="0"/>
              <a:t>Brazilian Laws &amp; Regulations</a:t>
            </a:r>
            <a:endParaRPr lang="en-US" sz="2667" dirty="0">
              <a:solidFill>
                <a:schemeClr val="bg1">
                  <a:lumMod val="50000"/>
                </a:schemeClr>
              </a:solidFill>
              <a:latin typeface="+mn-lt"/>
              <a:cs typeface="Calibri" panose="020F0502020204030204" pitchFamily="34" charset="0"/>
            </a:endParaRPr>
          </a:p>
        </p:txBody>
      </p:sp>
      <p:graphicFrame>
        <p:nvGraphicFramePr>
          <p:cNvPr id="29" name="Diagram 28">
            <a:extLst>
              <a:ext uri="{FF2B5EF4-FFF2-40B4-BE49-F238E27FC236}">
                <a16:creationId xmlns:a16="http://schemas.microsoft.com/office/drawing/2014/main" id="{A242D830-3E1E-443E-8C9C-B828C7F2AB2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75339442"/>
              </p:ext>
            </p:extLst>
          </p:nvPr>
        </p:nvGraphicFramePr>
        <p:xfrm>
          <a:off x="3103765" y="1525871"/>
          <a:ext cx="7411835" cy="4559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34" name="Picture 2" descr="Resultado de imagem para brazil map">
            <a:extLst>
              <a:ext uri="{FF2B5EF4-FFF2-40B4-BE49-F238E27FC236}">
                <a16:creationId xmlns:a16="http://schemas.microsoft.com/office/drawing/2014/main" id="{B5E8C26E-99D3-4631-8F7B-DFAF766414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774" y="142101"/>
            <a:ext cx="1552025" cy="1545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Arrow: Right 35">
            <a:extLst>
              <a:ext uri="{FF2B5EF4-FFF2-40B4-BE49-F238E27FC236}">
                <a16:creationId xmlns:a16="http://schemas.microsoft.com/office/drawing/2014/main" id="{E4375895-223D-4A0B-A8A5-AEF17D170123}"/>
              </a:ext>
            </a:extLst>
          </p:cNvPr>
          <p:cNvSpPr/>
          <p:nvPr/>
        </p:nvSpPr>
        <p:spPr>
          <a:xfrm>
            <a:off x="1191126" y="1319464"/>
            <a:ext cx="1981200" cy="1215850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700" b="1" dirty="0"/>
              <a:t>Federal Law 11.903/2009</a:t>
            </a:r>
          </a:p>
        </p:txBody>
      </p:sp>
      <p:sp>
        <p:nvSpPr>
          <p:cNvPr id="37" name="Arrow: Right 36">
            <a:extLst>
              <a:ext uri="{FF2B5EF4-FFF2-40B4-BE49-F238E27FC236}">
                <a16:creationId xmlns:a16="http://schemas.microsoft.com/office/drawing/2014/main" id="{1CE470FF-F81B-4B1D-8BEA-25536780DB6D}"/>
              </a:ext>
            </a:extLst>
          </p:cNvPr>
          <p:cNvSpPr/>
          <p:nvPr/>
        </p:nvSpPr>
        <p:spPr>
          <a:xfrm>
            <a:off x="1736558" y="3264891"/>
            <a:ext cx="1981200" cy="1215850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700" b="1" dirty="0"/>
              <a:t>Federal Law 13.410/2016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124643B-ABC5-4A74-962C-F4AB9A97E055}"/>
              </a:ext>
            </a:extLst>
          </p:cNvPr>
          <p:cNvSpPr/>
          <p:nvPr/>
        </p:nvSpPr>
        <p:spPr>
          <a:xfrm>
            <a:off x="3239326" y="2019334"/>
            <a:ext cx="75533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09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6A49F54-F37F-4828-A060-931693931DAF}"/>
              </a:ext>
            </a:extLst>
          </p:cNvPr>
          <p:cNvSpPr/>
          <p:nvPr/>
        </p:nvSpPr>
        <p:spPr>
          <a:xfrm>
            <a:off x="3664265" y="3094041"/>
            <a:ext cx="75533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13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69371E0-DF61-4709-8B83-BABB0F897D93}"/>
              </a:ext>
            </a:extLst>
          </p:cNvPr>
          <p:cNvSpPr/>
          <p:nvPr/>
        </p:nvSpPr>
        <p:spPr>
          <a:xfrm>
            <a:off x="3648223" y="4128757"/>
            <a:ext cx="75533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16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C4398B1-63D6-4E4E-A8D5-5B2C0990C9C9}"/>
              </a:ext>
            </a:extLst>
          </p:cNvPr>
          <p:cNvSpPr/>
          <p:nvPr/>
        </p:nvSpPr>
        <p:spPr>
          <a:xfrm>
            <a:off x="3239325" y="5183848"/>
            <a:ext cx="75533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17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1172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6" y="283376"/>
            <a:ext cx="10620375" cy="615553"/>
          </a:xfrm>
        </p:spPr>
        <p:txBody>
          <a:bodyPr/>
          <a:lstStyle/>
          <a:p>
            <a:r>
              <a:rPr lang="en-US" dirty="0"/>
              <a:t>Brazilian End-2-End Pilot 2015 </a:t>
            </a:r>
            <a:r>
              <a:rPr lang="en-US" sz="3200" dirty="0"/>
              <a:t>(RDC-54)</a:t>
            </a:r>
            <a:endParaRPr lang="en-US" sz="2667" dirty="0">
              <a:solidFill>
                <a:schemeClr val="bg1">
                  <a:lumMod val="50000"/>
                </a:schemeClr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D0DEE01-BA90-4FB9-A1DF-3E0C6C6B09F8}"/>
              </a:ext>
            </a:extLst>
          </p:cNvPr>
          <p:cNvSpPr/>
          <p:nvPr/>
        </p:nvSpPr>
        <p:spPr>
          <a:xfrm>
            <a:off x="4049592" y="990600"/>
            <a:ext cx="7228009" cy="21438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572" indent="-228572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pt-BR" sz="21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harmacy</a:t>
            </a:r>
            <a:r>
              <a:rPr lang="pt-BR" sz="21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t-BR" sz="21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hain</a:t>
            </a:r>
            <a:r>
              <a:rPr lang="pt-BR" sz="21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founded in 1962</a:t>
            </a:r>
          </a:p>
          <a:p>
            <a:pPr marL="228572" indent="-228572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pt-BR" sz="21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2 Branches in 8 cities at “Vale do Paraiba” Region</a:t>
            </a:r>
          </a:p>
          <a:p>
            <a:pPr marL="228572" indent="-228572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pt-BR" sz="21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720 employees, potentially 2MM customers</a:t>
            </a:r>
          </a:p>
          <a:p>
            <a:pPr marL="228572" indent="-228572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pt-BR" sz="2133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rtnered</a:t>
            </a:r>
            <a:r>
              <a:rPr lang="pt-BR" sz="21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with Consumer and Janssen batches</a:t>
            </a:r>
          </a:p>
          <a:p>
            <a:pPr marL="228572" indent="-228572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pt-BR" sz="21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erations, Comercial and IT areas involved</a:t>
            </a:r>
          </a:p>
        </p:txBody>
      </p:sp>
      <p:pic>
        <p:nvPicPr>
          <p:cNvPr id="15" name="Picture 3">
            <a:extLst>
              <a:ext uri="{FF2B5EF4-FFF2-40B4-BE49-F238E27FC236}">
                <a16:creationId xmlns:a16="http://schemas.microsoft.com/office/drawing/2014/main" id="{68DA7AE9-AAA2-4465-B8C0-FB4ADDC56F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429" y="958670"/>
            <a:ext cx="2985016" cy="162475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id="{90532B52-7D65-41FC-B7C4-C660EA2C72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382" y="4462417"/>
            <a:ext cx="2984668" cy="193040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3">
            <a:extLst>
              <a:ext uri="{FF2B5EF4-FFF2-40B4-BE49-F238E27FC236}">
                <a16:creationId xmlns:a16="http://schemas.microsoft.com/office/drawing/2014/main" id="{A2E952B0-433D-4C4D-9A8D-C65813D75A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383" y="2633618"/>
            <a:ext cx="2984667" cy="1750783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>
            <a:extLst>
              <a:ext uri="{FF2B5EF4-FFF2-40B4-BE49-F238E27FC236}">
                <a16:creationId xmlns:a16="http://schemas.microsoft.com/office/drawing/2014/main" id="{5F3CA7D3-39A0-47F2-ACDB-A7B2E56261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8983" y="3468669"/>
            <a:ext cx="3166379" cy="2147513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>
            <a:extLst>
              <a:ext uri="{FF2B5EF4-FFF2-40B4-BE49-F238E27FC236}">
                <a16:creationId xmlns:a16="http://schemas.microsoft.com/office/drawing/2014/main" id="{CAF1D590-3ACF-4D32-8112-90430D0494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0461" y="4017008"/>
            <a:ext cx="3053939" cy="2155192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772F69AB-5BE1-45F1-9A21-514B161D74FF}"/>
              </a:ext>
            </a:extLst>
          </p:cNvPr>
          <p:cNvSpPr txBox="1">
            <a:spLocks/>
          </p:cNvSpPr>
          <p:nvPr/>
        </p:nvSpPr>
        <p:spPr>
          <a:xfrm>
            <a:off x="9245600" y="6518275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12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18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30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638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547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455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366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275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310939B-5458-484E-97A2-E8100EE90BF7}" type="slidenum">
              <a:rPr lang="nl-NL" sz="1200">
                <a:solidFill>
                  <a:schemeClr val="bg1"/>
                </a:solidFill>
              </a:rPr>
              <a:pPr algn="r"/>
              <a:t>8</a:t>
            </a:fld>
            <a:endParaRPr lang="nl-NL" sz="1200">
              <a:solidFill>
                <a:schemeClr val="bg1"/>
              </a:solidFill>
            </a:endParaRPr>
          </a:p>
        </p:txBody>
      </p:sp>
      <p:pic>
        <p:nvPicPr>
          <p:cNvPr id="11" name="Picture 2" descr="Resultado de imagem para brazil map">
            <a:extLst>
              <a:ext uri="{FF2B5EF4-FFF2-40B4-BE49-F238E27FC236}">
                <a16:creationId xmlns:a16="http://schemas.microsoft.com/office/drawing/2014/main" id="{478CDB66-525A-474F-AE5E-163EF976D3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774" y="142101"/>
            <a:ext cx="1552025" cy="1545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4564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0B4B9385-0E08-4C8D-98DF-A9F9E05107A6}"/>
              </a:ext>
            </a:extLst>
          </p:cNvPr>
          <p:cNvSpPr/>
          <p:nvPr/>
        </p:nvSpPr>
        <p:spPr bwMode="auto">
          <a:xfrm>
            <a:off x="886375" y="1801180"/>
            <a:ext cx="10464799" cy="3940345"/>
          </a:xfrm>
          <a:prstGeom prst="rect">
            <a:avLst/>
          </a:prstGeom>
          <a:solidFill>
            <a:srgbClr val="E9E4C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 defTabSz="1219170"/>
            <a:endParaRPr lang="en-US" sz="4267" dirty="0" err="1">
              <a:solidFill>
                <a:schemeClr val="bg1"/>
              </a:solidFill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9CE987F-B574-4264-B5E7-94AFA06849F7}"/>
              </a:ext>
            </a:extLst>
          </p:cNvPr>
          <p:cNvCxnSpPr>
            <a:cxnSpLocks/>
          </p:cNvCxnSpPr>
          <p:nvPr/>
        </p:nvCxnSpPr>
        <p:spPr bwMode="auto">
          <a:xfrm>
            <a:off x="6067975" y="1801181"/>
            <a:ext cx="0" cy="3940345"/>
          </a:xfrm>
          <a:prstGeom prst="line">
            <a:avLst/>
          </a:prstGeom>
          <a:solidFill>
            <a:srgbClr val="C0C0C0"/>
          </a:solidFill>
          <a:ln w="12700" cap="flat" cmpd="sng" algn="ctr">
            <a:solidFill>
              <a:schemeClr val="tx1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6" y="283375"/>
            <a:ext cx="8235951" cy="1107996"/>
          </a:xfrm>
        </p:spPr>
        <p:txBody>
          <a:bodyPr/>
          <a:lstStyle/>
          <a:p>
            <a:r>
              <a:rPr lang="en-US" dirty="0"/>
              <a:t>Brazilian Serialization and T&amp;T</a:t>
            </a:r>
            <a:br>
              <a:rPr lang="en-US" dirty="0"/>
            </a:br>
            <a:r>
              <a:rPr lang="en-US" sz="3200" i="1" dirty="0">
                <a:solidFill>
                  <a:schemeClr val="tx1">
                    <a:lumMod val="60000"/>
                    <a:lumOff val="40000"/>
                  </a:schemeClr>
                </a:solidFill>
                <a:latin typeface="Georgia" panose="02040502050405020303" pitchFamily="18" charset="0"/>
              </a:rPr>
              <a:t>High-Level Timeline</a:t>
            </a:r>
            <a:endParaRPr lang="en-US" sz="3200" i="1" dirty="0">
              <a:solidFill>
                <a:schemeClr val="tx1">
                  <a:lumMod val="60000"/>
                  <a:lumOff val="40000"/>
                </a:schemeClr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57BBBFEE-B439-4F1E-AF6A-251737451A59}"/>
              </a:ext>
            </a:extLst>
          </p:cNvPr>
          <p:cNvSpPr txBox="1">
            <a:spLocks/>
          </p:cNvSpPr>
          <p:nvPr/>
        </p:nvSpPr>
        <p:spPr>
          <a:xfrm>
            <a:off x="9245600" y="6518275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12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18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30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638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547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455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366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275" algn="l" defTabSz="91381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310939B-5458-484E-97A2-E8100EE90BF7}" type="slidenum">
              <a:rPr lang="nl-NL" sz="1200">
                <a:solidFill>
                  <a:schemeClr val="bg1"/>
                </a:solidFill>
              </a:rPr>
              <a:pPr algn="r"/>
              <a:t>9</a:t>
            </a:fld>
            <a:endParaRPr lang="nl-NL" sz="1200">
              <a:solidFill>
                <a:schemeClr val="bg1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629649A-385F-44BA-A7BE-80DDA9ECC0F1}"/>
              </a:ext>
            </a:extLst>
          </p:cNvPr>
          <p:cNvSpPr/>
          <p:nvPr/>
        </p:nvSpPr>
        <p:spPr bwMode="auto">
          <a:xfrm>
            <a:off x="886375" y="5233525"/>
            <a:ext cx="10464799" cy="508000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0" bIns="60960" numCol="1" rtlCol="0" anchor="ctr" anchorCtr="0" compatLnSpc="1">
            <a:prstTxWarp prst="textNoShape">
              <a:avLst/>
            </a:prstTxWarp>
          </a:bodyPr>
          <a:lstStyle/>
          <a:p>
            <a:pPr defTabSz="1219170"/>
            <a:r>
              <a:rPr lang="pt-BR" sz="2133" dirty="0">
                <a:solidFill>
                  <a:schemeClr val="bg1"/>
                </a:solidFill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 2017                          2018                                                   2019            </a:t>
            </a:r>
            <a:r>
              <a:rPr lang="pt-BR" sz="2133" b="1" dirty="0">
                <a:solidFill>
                  <a:schemeClr val="bg1"/>
                </a:solidFill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.......</a:t>
            </a:r>
            <a:r>
              <a:rPr lang="pt-BR" sz="2133" dirty="0">
                <a:solidFill>
                  <a:schemeClr val="bg1"/>
                </a:solidFill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       2022</a:t>
            </a:r>
            <a:endParaRPr lang="en-US" sz="2133" dirty="0" err="1">
              <a:solidFill>
                <a:schemeClr val="bg1"/>
              </a:solidFill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49AB1DF-5E6F-42BF-88EE-1D580430D1EF}"/>
              </a:ext>
            </a:extLst>
          </p:cNvPr>
          <p:cNvCxnSpPr>
            <a:cxnSpLocks/>
          </p:cNvCxnSpPr>
          <p:nvPr/>
        </p:nvCxnSpPr>
        <p:spPr bwMode="auto">
          <a:xfrm>
            <a:off x="1902375" y="5233525"/>
            <a:ext cx="0" cy="508000"/>
          </a:xfrm>
          <a:prstGeom prst="line">
            <a:avLst/>
          </a:prstGeom>
          <a:solidFill>
            <a:srgbClr val="C0C0C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AAA684F-1D41-4242-84EE-11B321E1A223}"/>
              </a:ext>
            </a:extLst>
          </p:cNvPr>
          <p:cNvCxnSpPr>
            <a:cxnSpLocks/>
          </p:cNvCxnSpPr>
          <p:nvPr/>
        </p:nvCxnSpPr>
        <p:spPr bwMode="auto">
          <a:xfrm>
            <a:off x="10436775" y="5233525"/>
            <a:ext cx="0" cy="508000"/>
          </a:xfrm>
          <a:prstGeom prst="line">
            <a:avLst/>
          </a:prstGeom>
          <a:solidFill>
            <a:srgbClr val="C0C0C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F96D654-B79F-402A-B69D-13835552085E}"/>
              </a:ext>
            </a:extLst>
          </p:cNvPr>
          <p:cNvCxnSpPr>
            <a:cxnSpLocks/>
          </p:cNvCxnSpPr>
          <p:nvPr/>
        </p:nvCxnSpPr>
        <p:spPr bwMode="auto">
          <a:xfrm>
            <a:off x="6067975" y="5233525"/>
            <a:ext cx="0" cy="508000"/>
          </a:xfrm>
          <a:prstGeom prst="line">
            <a:avLst/>
          </a:prstGeom>
          <a:solidFill>
            <a:srgbClr val="C0C0C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FF318358-E76C-4FA2-BA29-D3E3862F1181}"/>
              </a:ext>
            </a:extLst>
          </p:cNvPr>
          <p:cNvSpPr/>
          <p:nvPr/>
        </p:nvSpPr>
        <p:spPr bwMode="auto">
          <a:xfrm>
            <a:off x="2844802" y="2928555"/>
            <a:ext cx="3759199" cy="339725"/>
          </a:xfrm>
          <a:prstGeom prst="roundRect">
            <a:avLst/>
          </a:prstGeom>
          <a:gradFill flip="none" rotWithShape="1">
            <a:gsLst>
              <a:gs pos="0">
                <a:srgbClr val="FF9933">
                  <a:shade val="30000"/>
                  <a:satMod val="115000"/>
                </a:srgbClr>
              </a:gs>
              <a:gs pos="50000">
                <a:srgbClr val="FF9933">
                  <a:shade val="67500"/>
                  <a:satMod val="115000"/>
                </a:srgbClr>
              </a:gs>
              <a:gs pos="100000">
                <a:srgbClr val="FF993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r>
              <a:rPr lang="pt-BR" sz="1867" dirty="0" err="1">
                <a:solidFill>
                  <a:schemeClr val="bg1"/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echnical</a:t>
            </a:r>
            <a:r>
              <a:rPr lang="pt-BR" sz="1867" dirty="0">
                <a:solidFill>
                  <a:schemeClr val="bg1"/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 </a:t>
            </a:r>
            <a:r>
              <a:rPr lang="pt-BR" sz="1867" dirty="0" err="1">
                <a:solidFill>
                  <a:schemeClr val="bg1"/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Pilot</a:t>
            </a:r>
            <a:endParaRPr lang="en-US" sz="1867" dirty="0" err="1">
              <a:solidFill>
                <a:schemeClr val="bg1"/>
              </a:solidFill>
              <a:latin typeface="Arial" pitchFamily="-110" charset="0"/>
              <a:ea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445116BF-F717-44CF-9EDA-59BF974D0FAD}"/>
              </a:ext>
            </a:extLst>
          </p:cNvPr>
          <p:cNvSpPr/>
          <p:nvPr/>
        </p:nvSpPr>
        <p:spPr bwMode="auto">
          <a:xfrm>
            <a:off x="3962401" y="3628808"/>
            <a:ext cx="3769428" cy="339725"/>
          </a:xfrm>
          <a:prstGeom prst="round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r>
              <a:rPr lang="pt-BR" sz="1867" dirty="0" err="1">
                <a:solidFill>
                  <a:schemeClr val="bg1"/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Technical</a:t>
            </a:r>
            <a:r>
              <a:rPr lang="pt-BR" sz="1867" dirty="0">
                <a:solidFill>
                  <a:schemeClr val="bg1"/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 </a:t>
            </a:r>
            <a:r>
              <a:rPr lang="pt-BR" sz="1867" dirty="0" err="1">
                <a:solidFill>
                  <a:schemeClr val="bg1"/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Adjustments</a:t>
            </a:r>
            <a:endParaRPr lang="en-US" sz="1867" dirty="0" err="1">
              <a:solidFill>
                <a:schemeClr val="bg1"/>
              </a:solidFill>
              <a:latin typeface="Arial" pitchFamily="-110" charset="0"/>
              <a:ea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7B250350-A809-436C-B659-869F7C63F0AB}"/>
              </a:ext>
            </a:extLst>
          </p:cNvPr>
          <p:cNvSpPr/>
          <p:nvPr/>
        </p:nvSpPr>
        <p:spPr bwMode="auto">
          <a:xfrm>
            <a:off x="4876801" y="4308475"/>
            <a:ext cx="5994399" cy="339725"/>
          </a:xfrm>
          <a:prstGeom prst="round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r>
              <a:rPr lang="pt-BR" sz="1867" dirty="0" err="1">
                <a:solidFill>
                  <a:schemeClr val="bg1"/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Full</a:t>
            </a:r>
            <a:r>
              <a:rPr lang="pt-BR" sz="1867" dirty="0">
                <a:solidFill>
                  <a:schemeClr val="bg1"/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 Market </a:t>
            </a:r>
            <a:r>
              <a:rPr lang="pt-BR" sz="1867" dirty="0" err="1">
                <a:solidFill>
                  <a:schemeClr val="bg1"/>
                </a:solidFill>
                <a:latin typeface="Arial" pitchFamily="-110" charset="0"/>
                <a:ea typeface="ヒラギノ角ゴ ProN W3" pitchFamily="-110" charset="-128"/>
                <a:sym typeface="Arial" pitchFamily="-110" charset="0"/>
              </a:rPr>
              <a:t>Implementation</a:t>
            </a:r>
            <a:endParaRPr lang="en-US" sz="1867" dirty="0" err="1">
              <a:solidFill>
                <a:schemeClr val="bg1"/>
              </a:solidFill>
              <a:latin typeface="Arial" pitchFamily="-110" charset="0"/>
              <a:ea typeface="ヒラギノ角ゴ ProN W3" pitchFamily="-110" charset="-128"/>
              <a:sym typeface="Arial" pitchFamily="-110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8E49C26-F6FB-43B4-9796-5E0E9993963D}"/>
              </a:ext>
            </a:extLst>
          </p:cNvPr>
          <p:cNvCxnSpPr>
            <a:cxnSpLocks/>
          </p:cNvCxnSpPr>
          <p:nvPr/>
        </p:nvCxnSpPr>
        <p:spPr bwMode="auto">
          <a:xfrm>
            <a:off x="10436775" y="1817228"/>
            <a:ext cx="0" cy="3940345"/>
          </a:xfrm>
          <a:prstGeom prst="line">
            <a:avLst/>
          </a:prstGeom>
          <a:solidFill>
            <a:srgbClr val="C0C0C0"/>
          </a:solidFill>
          <a:ln w="12700" cap="flat" cmpd="sng" algn="ctr">
            <a:solidFill>
              <a:schemeClr val="tx1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E47B1DF-1E20-4ABC-AE05-18E3FA77CA6A}"/>
              </a:ext>
            </a:extLst>
          </p:cNvPr>
          <p:cNvCxnSpPr>
            <a:cxnSpLocks/>
          </p:cNvCxnSpPr>
          <p:nvPr/>
        </p:nvCxnSpPr>
        <p:spPr bwMode="auto">
          <a:xfrm>
            <a:off x="1902375" y="1801181"/>
            <a:ext cx="0" cy="3940345"/>
          </a:xfrm>
          <a:prstGeom prst="line">
            <a:avLst/>
          </a:prstGeom>
          <a:solidFill>
            <a:srgbClr val="C0C0C0"/>
          </a:solidFill>
          <a:ln w="12700" cap="flat" cmpd="sng" algn="ctr">
            <a:solidFill>
              <a:schemeClr val="tx1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048" name="Arrow: Chevron 2047">
            <a:extLst>
              <a:ext uri="{FF2B5EF4-FFF2-40B4-BE49-F238E27FC236}">
                <a16:creationId xmlns:a16="http://schemas.microsoft.com/office/drawing/2014/main" id="{CCDA6BC4-2B51-4CA4-8037-0AF5735F9AC0}"/>
              </a:ext>
            </a:extLst>
          </p:cNvPr>
          <p:cNvSpPr/>
          <p:nvPr/>
        </p:nvSpPr>
        <p:spPr bwMode="auto">
          <a:xfrm rot="16200000">
            <a:off x="10718799" y="5715744"/>
            <a:ext cx="265029" cy="366627"/>
          </a:xfrm>
          <a:prstGeom prst="chevron">
            <a:avLst/>
          </a:pr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lin ang="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 defTabSz="1219170"/>
            <a:endParaRPr lang="en-US" sz="4267" dirty="0" err="1">
              <a:solidFill>
                <a:schemeClr val="bg1"/>
              </a:solidFill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35" name="Arrow: Chevron 34">
            <a:extLst>
              <a:ext uri="{FF2B5EF4-FFF2-40B4-BE49-F238E27FC236}">
                <a16:creationId xmlns:a16="http://schemas.microsoft.com/office/drawing/2014/main" id="{979DCFF6-CC8A-4D7E-856F-28DE4EDDB4DE}"/>
              </a:ext>
            </a:extLst>
          </p:cNvPr>
          <p:cNvSpPr/>
          <p:nvPr/>
        </p:nvSpPr>
        <p:spPr bwMode="auto">
          <a:xfrm rot="16200000">
            <a:off x="761999" y="5702492"/>
            <a:ext cx="265029" cy="366627"/>
          </a:xfrm>
          <a:prstGeom prst="chevron">
            <a:avLst/>
          </a:prstGeom>
          <a:gradFill flip="none" rotWithShape="1">
            <a:gsLst>
              <a:gs pos="0">
                <a:srgbClr val="00B050">
                  <a:shade val="30000"/>
                  <a:satMod val="1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path path="circle">
              <a:fillToRect t="100000" r="100000"/>
            </a:path>
            <a:tileRect l="-100000" b="-10000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 defTabSz="1219170"/>
            <a:endParaRPr lang="en-US" sz="4267" dirty="0" err="1">
              <a:solidFill>
                <a:schemeClr val="bg1"/>
              </a:solidFill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451AE69-1B7D-46F4-8B5E-BBC6517C9C39}"/>
              </a:ext>
            </a:extLst>
          </p:cNvPr>
          <p:cNvSpPr/>
          <p:nvPr/>
        </p:nvSpPr>
        <p:spPr>
          <a:xfrm>
            <a:off x="159683" y="5982253"/>
            <a:ext cx="149111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Start Experimental </a:t>
            </a:r>
          </a:p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Phase Aug/17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2" name="Picture 2" descr="Resultado de imagem para brazil map">
            <a:extLst>
              <a:ext uri="{FF2B5EF4-FFF2-40B4-BE49-F238E27FC236}">
                <a16:creationId xmlns:a16="http://schemas.microsoft.com/office/drawing/2014/main" id="{C2B174CC-9E82-44E4-A516-B71B5B103B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774" y="142101"/>
            <a:ext cx="1552025" cy="1545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646D6DA5-2A3C-48F4-B754-1DAF23CF0B68}"/>
              </a:ext>
            </a:extLst>
          </p:cNvPr>
          <p:cNvSpPr/>
          <p:nvPr/>
        </p:nvSpPr>
        <p:spPr bwMode="auto">
          <a:xfrm rot="16200000">
            <a:off x="4291495" y="5701749"/>
            <a:ext cx="265029" cy="366627"/>
          </a:xfrm>
          <a:prstGeom prst="chevron">
            <a:avLst/>
          </a:prstGeom>
          <a:gradFill flip="none" rotWithShape="1">
            <a:gsLst>
              <a:gs pos="0">
                <a:srgbClr val="00B050">
                  <a:shade val="30000"/>
                  <a:satMod val="1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path path="circle">
              <a:fillToRect t="100000" r="100000"/>
            </a:path>
            <a:tileRect l="-100000" b="-10000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 defTabSz="1219170"/>
            <a:endParaRPr lang="en-US" sz="4267" dirty="0" err="1">
              <a:solidFill>
                <a:schemeClr val="bg1"/>
              </a:solidFill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54901A3-7413-4762-BF63-40DD30B7604B}"/>
              </a:ext>
            </a:extLst>
          </p:cNvPr>
          <p:cNvSpPr/>
          <p:nvPr/>
        </p:nvSpPr>
        <p:spPr>
          <a:xfrm>
            <a:off x="3647502" y="5981510"/>
            <a:ext cx="157447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Finish Experimental </a:t>
            </a:r>
          </a:p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Phase Aug/18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897DC1DC-3475-43E9-A0AF-23DC2C6673FC}"/>
              </a:ext>
            </a:extLst>
          </p:cNvPr>
          <p:cNvSpPr/>
          <p:nvPr/>
        </p:nvSpPr>
        <p:spPr bwMode="auto">
          <a:xfrm rot="16200000">
            <a:off x="7585440" y="5701749"/>
            <a:ext cx="265029" cy="366627"/>
          </a:xfrm>
          <a:prstGeom prst="chevron">
            <a:avLst/>
          </a:prstGeom>
          <a:gradFill flip="none" rotWithShape="1">
            <a:gsLst>
              <a:gs pos="0">
                <a:srgbClr val="00B050">
                  <a:shade val="30000"/>
                  <a:satMod val="1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path path="circle">
              <a:fillToRect t="100000" r="100000"/>
            </a:path>
            <a:tileRect l="-100000" b="-10000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 defTabSz="1219170"/>
            <a:endParaRPr lang="en-US" sz="4267" dirty="0" err="1">
              <a:solidFill>
                <a:schemeClr val="bg1"/>
              </a:solidFill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01CB697-3D36-4F4E-AC21-516B1A21217B}"/>
              </a:ext>
            </a:extLst>
          </p:cNvPr>
          <p:cNvSpPr/>
          <p:nvPr/>
        </p:nvSpPr>
        <p:spPr>
          <a:xfrm>
            <a:off x="6796602" y="5981510"/>
            <a:ext cx="186416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Finish Experimental </a:t>
            </a:r>
          </a:p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Phase Evaluation Apr/19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79832E6-1922-4568-AA6E-04845B3063C4}"/>
              </a:ext>
            </a:extLst>
          </p:cNvPr>
          <p:cNvSpPr/>
          <p:nvPr/>
        </p:nvSpPr>
        <p:spPr>
          <a:xfrm>
            <a:off x="9826170" y="5982253"/>
            <a:ext cx="205056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Final deadline, all products </a:t>
            </a:r>
          </a:p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and all supply chain Apr/22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E30F052-62FC-445E-B0DC-4A94FCB05ED0}"/>
              </a:ext>
            </a:extLst>
          </p:cNvPr>
          <p:cNvSpPr/>
          <p:nvPr/>
        </p:nvSpPr>
        <p:spPr bwMode="auto">
          <a:xfrm>
            <a:off x="784779" y="2248448"/>
            <a:ext cx="2161621" cy="339725"/>
          </a:xfrm>
          <a:prstGeom prst="roundRect">
            <a:avLst/>
          </a:prstGeom>
          <a:gradFill flip="none" rotWithShape="1">
            <a:gsLst>
              <a:gs pos="0">
                <a:srgbClr val="FF6600">
                  <a:shade val="30000"/>
                  <a:satMod val="115000"/>
                </a:srgbClr>
              </a:gs>
              <a:gs pos="50000">
                <a:srgbClr val="FF6600">
                  <a:shade val="67500"/>
                  <a:satMod val="115000"/>
                </a:srgbClr>
              </a:gs>
              <a:gs pos="100000">
                <a:srgbClr val="FF66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60960" rIns="0" bIns="60960" numCol="1" rtlCol="0" anchor="ctr" anchorCtr="0" compatLnSpc="1">
            <a:prstTxWarp prst="textNoShape">
              <a:avLst/>
            </a:prstTxWarp>
          </a:bodyPr>
          <a:lstStyle/>
          <a:p>
            <a:pPr algn="ctr" defTabSz="1219170"/>
            <a:r>
              <a:rPr lang="pt-BR" sz="1867" dirty="0">
                <a:solidFill>
                  <a:schemeClr val="bg1"/>
                </a:solidFill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Players </a:t>
            </a:r>
            <a:r>
              <a:rPr lang="pt-BR" sz="1867" dirty="0" err="1">
                <a:solidFill>
                  <a:schemeClr val="bg1"/>
                </a:solidFill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Definition</a:t>
            </a:r>
            <a:endParaRPr lang="en-US" sz="1867" dirty="0" err="1">
              <a:solidFill>
                <a:schemeClr val="bg1"/>
              </a:solidFill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A716050-3914-412A-AA01-AF0A9B470C34}"/>
              </a:ext>
            </a:extLst>
          </p:cNvPr>
          <p:cNvSpPr/>
          <p:nvPr/>
        </p:nvSpPr>
        <p:spPr bwMode="auto">
          <a:xfrm>
            <a:off x="203200" y="1801179"/>
            <a:ext cx="481496" cy="3432347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vert270" wrap="squar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 defTabSz="1219170"/>
            <a:r>
              <a:rPr lang="pt-BR" sz="2133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Most</a:t>
            </a:r>
            <a:r>
              <a:rPr lang="pt-BR" sz="21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 </a:t>
            </a:r>
            <a:r>
              <a:rPr lang="pt-BR" sz="2133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Probable</a:t>
            </a:r>
            <a:r>
              <a:rPr lang="pt-BR" sz="2133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 </a:t>
            </a:r>
            <a:r>
              <a:rPr lang="pt-BR" sz="2133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-110" charset="0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rPr>
              <a:t>Scenario</a:t>
            </a:r>
            <a:endParaRPr lang="en-US" sz="2133" dirty="0" err="1">
              <a:solidFill>
                <a:schemeClr val="tx1">
                  <a:lumMod val="65000"/>
                  <a:lumOff val="35000"/>
                </a:schemeClr>
              </a:solidFill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6906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JJSC SCV WIDESCREEN EXTERNAL Template June 2017.pptx" id="{5C4A4804-622B-4E14-BC1C-FA23AED025CA}" vid="{0F742E7B-F910-4F5B-9C50-7A3970FDDEC5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JJSC SCV WIDESCREEN EXTERNAL Template June 2017.pptx" id="{5C4A4804-622B-4E14-BC1C-FA23AED025CA}" vid="{F06A8095-C53F-487F-886B-9A2384908C48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JJSC SCV WIDESCREEN EXTERNAL Template June 2017.pptx" id="{5C4A4804-622B-4E14-BC1C-FA23AED025CA}" vid="{C9B1651F-8ECD-459D-87DF-E0638CCBBE0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A5F9CEE214A8D41B3CE8C9E632AF7D9" ma:contentTypeVersion="1" ma:contentTypeDescription="Create a new document." ma:contentTypeScope="" ma:versionID="95487961ec14595367d2365eae5c6d8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385B037-8E6D-427B-AD4B-B518912C3ABE}">
  <ds:schemaRefs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2BB662F-EB50-41A3-BD90-070B755D43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6C641EEF-1741-464C-88CF-F5CA65EA4A5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JJSC SCV WIDESCREEN EXTERNAL Template June 2017</Template>
  <TotalTime>3235</TotalTime>
  <Words>626</Words>
  <Application>Microsoft Office PowerPoint</Application>
  <PresentationFormat>Widescreen</PresentationFormat>
  <Paragraphs>106</Paragraphs>
  <Slides>14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6" baseType="lpstr">
      <vt:lpstr>Arial Unicode MS</vt:lpstr>
      <vt:lpstr>ＭＳ Ｐゴシック</vt:lpstr>
      <vt:lpstr>Arial</vt:lpstr>
      <vt:lpstr>Arial (body)</vt:lpstr>
      <vt:lpstr>Calibri</vt:lpstr>
      <vt:lpstr>Century Gothic</vt:lpstr>
      <vt:lpstr>Georgia</vt:lpstr>
      <vt:lpstr>ヒラギノ角ゴ ProN W3</vt:lpstr>
      <vt:lpstr>3_Office Theme</vt:lpstr>
      <vt:lpstr>1_Office Theme</vt:lpstr>
      <vt:lpstr>2_Office Theme</vt:lpstr>
      <vt:lpstr>think-cell Slide</vt:lpstr>
      <vt:lpstr>The Journey of Serialization and Traceability Brazil Market Deployment</vt:lpstr>
      <vt:lpstr>Agenda</vt:lpstr>
      <vt:lpstr>Johnson &amp; Johnson</vt:lpstr>
      <vt:lpstr>Johnson &amp; Johnson Portfolio</vt:lpstr>
      <vt:lpstr>PowerPoint Presentation</vt:lpstr>
      <vt:lpstr>Johnson &amp; Johnson and GS1 Partnership</vt:lpstr>
      <vt:lpstr>Brazilian Laws &amp; Regulations</vt:lpstr>
      <vt:lpstr>Brazilian End-2-End Pilot 2015 (RDC-54)</vt:lpstr>
      <vt:lpstr>Brazilian Serialization and T&amp;T High-Level Timeline</vt:lpstr>
      <vt:lpstr>License Plate – Secondary Packaging</vt:lpstr>
      <vt:lpstr>Brazilian Serialization and T&amp;T High-Level Overview/Requirements</vt:lpstr>
      <vt:lpstr>Brazilian Serialization and T&amp;T Scope &amp; What Has Been Done</vt:lpstr>
      <vt:lpstr>Brazilian Serialization and T&amp;T Next Steps</vt:lpstr>
      <vt:lpstr>PowerPoint Presentation</vt:lpstr>
    </vt:vector>
  </TitlesOfParts>
  <Company>Testi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Here to Add Title Georgia 40 pt</dc:title>
  <dc:creator>Rosoluk, Donna [HCSUS Non-J&amp;J]</dc:creator>
  <cp:lastModifiedBy>Oliveira, Leandro L. [JANBR]</cp:lastModifiedBy>
  <cp:revision>147</cp:revision>
  <cp:lastPrinted>2017-06-05T18:26:04Z</cp:lastPrinted>
  <dcterms:created xsi:type="dcterms:W3CDTF">2018-01-30T17:36:36Z</dcterms:created>
  <dcterms:modified xsi:type="dcterms:W3CDTF">2018-04-10T00:13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A5F9CEE214A8D41B3CE8C9E632AF7D9</vt:lpwstr>
  </property>
  <property fmtid="{D5CDD505-2E9C-101B-9397-08002B2CF9AE}" pid="3" name="TemplateUrl">
    <vt:lpwstr/>
  </property>
  <property fmtid="{D5CDD505-2E9C-101B-9397-08002B2CF9AE}" pid="4" name="xd_Signature">
    <vt:bool>false</vt:bool>
  </property>
  <property fmtid="{D5CDD505-2E9C-101B-9397-08002B2CF9AE}" pid="5" name="xd_ProgID">
    <vt:lpwstr/>
  </property>
</Properties>
</file>